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7" r:id="rId4"/>
  </p:sldMasterIdLst>
  <p:notesMasterIdLst>
    <p:notesMasterId r:id="rId37"/>
  </p:notesMasterIdLst>
  <p:handoutMasterIdLst>
    <p:handoutMasterId r:id="rId38"/>
  </p:handoutMasterIdLst>
  <p:sldIdLst>
    <p:sldId id="1027" r:id="rId5"/>
    <p:sldId id="1028" r:id="rId6"/>
    <p:sldId id="2147472276" r:id="rId7"/>
    <p:sldId id="1030" r:id="rId8"/>
    <p:sldId id="2147472296" r:id="rId9"/>
    <p:sldId id="274" r:id="rId10"/>
    <p:sldId id="275" r:id="rId11"/>
    <p:sldId id="2147309131" r:id="rId12"/>
    <p:sldId id="1045" r:id="rId13"/>
    <p:sldId id="405" r:id="rId14"/>
    <p:sldId id="372" r:id="rId15"/>
    <p:sldId id="406" r:id="rId16"/>
    <p:sldId id="414" r:id="rId17"/>
    <p:sldId id="2147472301" r:id="rId18"/>
    <p:sldId id="2147472302" r:id="rId19"/>
    <p:sldId id="2147472300" r:id="rId20"/>
    <p:sldId id="2147472299" r:id="rId21"/>
    <p:sldId id="359" r:id="rId22"/>
    <p:sldId id="2026819479" r:id="rId23"/>
    <p:sldId id="2147472277" r:id="rId24"/>
    <p:sldId id="2147472304" r:id="rId25"/>
    <p:sldId id="2147472305" r:id="rId26"/>
    <p:sldId id="2147472313" r:id="rId27"/>
    <p:sldId id="2147472307" r:id="rId28"/>
    <p:sldId id="2147472310" r:id="rId29"/>
    <p:sldId id="2147472306" r:id="rId30"/>
    <p:sldId id="2147472311" r:id="rId31"/>
    <p:sldId id="2147472309" r:id="rId32"/>
    <p:sldId id="2147472312" r:id="rId33"/>
    <p:sldId id="2147472285" r:id="rId34"/>
    <p:sldId id="2147472295" r:id="rId35"/>
    <p:sldId id="2147309187" r:id="rId36"/>
  </p:sldIdLst>
  <p:sldSz cx="12188825" cy="6858000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3" clrIdx="1"/>
  <p:cmAuthor id="3" name="Wendy Ouellette" initials="WO" lastIdx="1" clrIdx="2">
    <p:extLst>
      <p:ext uri="{19B8F6BF-5375-455C-9EA6-DF929625EA0E}">
        <p15:presenceInfo xmlns:p15="http://schemas.microsoft.com/office/powerpoint/2012/main" userId="S::wouellette@vmware.com::1423423b-46e9-448d-b172-f148f3fbf4f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8FA"/>
    <a:srgbClr val="214D19"/>
    <a:srgbClr val="295B20"/>
    <a:srgbClr val="2F6A25"/>
    <a:srgbClr val="337128"/>
    <a:srgbClr val="548316"/>
    <a:srgbClr val="00818F"/>
    <a:srgbClr val="EB7500"/>
    <a:srgbClr val="B85C00"/>
    <a:srgbClr val="9F28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C81AF8-C4BB-47B8-869D-8FA44CD5A316}" v="125" dt="2023-11-21T05:04:06.349"/>
  </p1510:revLst>
</p1510:revInfo>
</file>

<file path=ppt/tableStyles.xml><?xml version="1.0" encoding="utf-8"?>
<a:tblStyleLst xmlns:a="http://schemas.openxmlformats.org/drawingml/2006/main" def="{6E25E649-3F16-4E02-A733-19D2CDBF48F0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26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rlie Black" userId="S::cblack@vmware.com::d3f783e5-d337-40e6-8a98-394fb2f75706" providerId="AD" clId="Web-{42686058-A336-BBC9-9793-54BAC264C010}"/>
    <pc:docChg chg="addSld delSld modSld">
      <pc:chgData name="Charlie Black" userId="S::cblack@vmware.com::d3f783e5-d337-40e6-8a98-394fb2f75706" providerId="AD" clId="Web-{42686058-A336-BBC9-9793-54BAC264C010}" dt="2023-11-19T20:11:50.200" v="194"/>
      <pc:docMkLst>
        <pc:docMk/>
      </pc:docMkLst>
      <pc:sldChg chg="modSp">
        <pc:chgData name="Charlie Black" userId="S::cblack@vmware.com::d3f783e5-d337-40e6-8a98-394fb2f75706" providerId="AD" clId="Web-{42686058-A336-BBC9-9793-54BAC264C010}" dt="2023-11-19T20:03:46.762" v="185" actId="20577"/>
        <pc:sldMkLst>
          <pc:docMk/>
          <pc:sldMk cId="3460973719" sldId="405"/>
        </pc:sldMkLst>
        <pc:spChg chg="mod">
          <ac:chgData name="Charlie Black" userId="S::cblack@vmware.com::d3f783e5-d337-40e6-8a98-394fb2f75706" providerId="AD" clId="Web-{42686058-A336-BBC9-9793-54BAC264C010}" dt="2023-11-19T20:03:46.762" v="185" actId="20577"/>
          <ac:spMkLst>
            <pc:docMk/>
            <pc:sldMk cId="3460973719" sldId="405"/>
            <ac:spMk id="9" creationId="{00000000-0000-0000-0000-000000000000}"/>
          </ac:spMkLst>
        </pc:spChg>
      </pc:sldChg>
      <pc:sldChg chg="modSp">
        <pc:chgData name="Charlie Black" userId="S::cblack@vmware.com::d3f783e5-d337-40e6-8a98-394fb2f75706" providerId="AD" clId="Web-{42686058-A336-BBC9-9793-54BAC264C010}" dt="2023-11-19T01:15:54.146" v="151" actId="20577"/>
        <pc:sldMkLst>
          <pc:docMk/>
          <pc:sldMk cId="4071637499" sldId="406"/>
        </pc:sldMkLst>
        <pc:spChg chg="mod">
          <ac:chgData name="Charlie Black" userId="S::cblack@vmware.com::d3f783e5-d337-40e6-8a98-394fb2f75706" providerId="AD" clId="Web-{42686058-A336-BBC9-9793-54BAC264C010}" dt="2023-11-19T01:15:54.146" v="151" actId="20577"/>
          <ac:spMkLst>
            <pc:docMk/>
            <pc:sldMk cId="4071637499" sldId="406"/>
            <ac:spMk id="5" creationId="{00000000-0000-0000-0000-000000000000}"/>
          </ac:spMkLst>
        </pc:spChg>
      </pc:sldChg>
      <pc:sldChg chg="modSp">
        <pc:chgData name="Charlie Black" userId="S::cblack@vmware.com::d3f783e5-d337-40e6-8a98-394fb2f75706" providerId="AD" clId="Web-{42686058-A336-BBC9-9793-54BAC264C010}" dt="2023-11-19T19:58:32.801" v="183" actId="20577"/>
        <pc:sldMkLst>
          <pc:docMk/>
          <pc:sldMk cId="3540618122" sldId="1027"/>
        </pc:sldMkLst>
        <pc:spChg chg="mod">
          <ac:chgData name="Charlie Black" userId="S::cblack@vmware.com::d3f783e5-d337-40e6-8a98-394fb2f75706" providerId="AD" clId="Web-{42686058-A336-BBC9-9793-54BAC264C010}" dt="2023-11-19T19:58:32.801" v="183" actId="20577"/>
          <ac:spMkLst>
            <pc:docMk/>
            <pc:sldMk cId="3540618122" sldId="1027"/>
            <ac:spMk id="5" creationId="{A63C1E39-47A3-4DE2-94D6-ACF90DA5B75C}"/>
          </ac:spMkLst>
        </pc:spChg>
      </pc:sldChg>
      <pc:sldChg chg="modSp">
        <pc:chgData name="Charlie Black" userId="S::cblack@vmware.com::d3f783e5-d337-40e6-8a98-394fb2f75706" providerId="AD" clId="Web-{42686058-A336-BBC9-9793-54BAC264C010}" dt="2023-11-19T01:08:08.707" v="71" actId="20577"/>
        <pc:sldMkLst>
          <pc:docMk/>
          <pc:sldMk cId="3579780174" sldId="1028"/>
        </pc:sldMkLst>
        <pc:spChg chg="mod">
          <ac:chgData name="Charlie Black" userId="S::cblack@vmware.com::d3f783e5-d337-40e6-8a98-394fb2f75706" providerId="AD" clId="Web-{42686058-A336-BBC9-9793-54BAC264C010}" dt="2023-11-19T01:08:08.707" v="71" actId="20577"/>
          <ac:spMkLst>
            <pc:docMk/>
            <pc:sldMk cId="3579780174" sldId="1028"/>
            <ac:spMk id="5" creationId="{58C58C19-1223-06D7-4251-752B407F47B4}"/>
          </ac:spMkLst>
        </pc:spChg>
      </pc:sldChg>
      <pc:sldChg chg="add del">
        <pc:chgData name="Charlie Black" userId="S::cblack@vmware.com::d3f783e5-d337-40e6-8a98-394fb2f75706" providerId="AD" clId="Web-{42686058-A336-BBC9-9793-54BAC264C010}" dt="2023-11-19T19:56:53.982" v="174"/>
        <pc:sldMkLst>
          <pc:docMk/>
          <pc:sldMk cId="1801201566" sldId="2026819489"/>
        </pc:sldMkLst>
      </pc:sldChg>
      <pc:sldChg chg="del">
        <pc:chgData name="Charlie Black" userId="S::cblack@vmware.com::d3f783e5-d337-40e6-8a98-394fb2f75706" providerId="AD" clId="Web-{42686058-A336-BBC9-9793-54BAC264C010}" dt="2023-11-19T01:14:53.316" v="149"/>
        <pc:sldMkLst>
          <pc:docMk/>
          <pc:sldMk cId="1780025267" sldId="2147309161"/>
        </pc:sldMkLst>
      </pc:sldChg>
      <pc:sldChg chg="modSp">
        <pc:chgData name="Charlie Black" userId="S::cblack@vmware.com::d3f783e5-d337-40e6-8a98-394fb2f75706" providerId="AD" clId="Web-{42686058-A336-BBC9-9793-54BAC264C010}" dt="2023-11-19T01:16:13.209" v="159" actId="20577"/>
        <pc:sldMkLst>
          <pc:docMk/>
          <pc:sldMk cId="3866491606" sldId="2147472277"/>
        </pc:sldMkLst>
        <pc:spChg chg="mod">
          <ac:chgData name="Charlie Black" userId="S::cblack@vmware.com::d3f783e5-d337-40e6-8a98-394fb2f75706" providerId="AD" clId="Web-{42686058-A336-BBC9-9793-54BAC264C010}" dt="2023-11-19T01:16:13.209" v="159" actId="20577"/>
          <ac:spMkLst>
            <pc:docMk/>
            <pc:sldMk cId="3866491606" sldId="2147472277"/>
            <ac:spMk id="2" creationId="{A8B24A7B-718B-F414-7B81-2F895CEEFC51}"/>
          </ac:spMkLst>
        </pc:spChg>
      </pc:sldChg>
      <pc:sldChg chg="add del">
        <pc:chgData name="Charlie Black" userId="S::cblack@vmware.com::d3f783e5-d337-40e6-8a98-394fb2f75706" providerId="AD" clId="Web-{42686058-A336-BBC9-9793-54BAC264C010}" dt="2023-11-19T19:56:53.982" v="173"/>
        <pc:sldMkLst>
          <pc:docMk/>
          <pc:sldMk cId="1211199613" sldId="2147472279"/>
        </pc:sldMkLst>
      </pc:sldChg>
      <pc:sldChg chg="add del">
        <pc:chgData name="Charlie Black" userId="S::cblack@vmware.com::d3f783e5-d337-40e6-8a98-394fb2f75706" providerId="AD" clId="Web-{42686058-A336-BBC9-9793-54BAC264C010}" dt="2023-11-19T19:56:53.967" v="171"/>
        <pc:sldMkLst>
          <pc:docMk/>
          <pc:sldMk cId="1587082846" sldId="2147472281"/>
        </pc:sldMkLst>
      </pc:sldChg>
      <pc:sldChg chg="add del">
        <pc:chgData name="Charlie Black" userId="S::cblack@vmware.com::d3f783e5-d337-40e6-8a98-394fb2f75706" providerId="AD" clId="Web-{42686058-A336-BBC9-9793-54BAC264C010}" dt="2023-11-19T19:56:53.951" v="170"/>
        <pc:sldMkLst>
          <pc:docMk/>
          <pc:sldMk cId="1487672327" sldId="2147472292"/>
        </pc:sldMkLst>
      </pc:sldChg>
      <pc:sldChg chg="add del">
        <pc:chgData name="Charlie Black" userId="S::cblack@vmware.com::d3f783e5-d337-40e6-8a98-394fb2f75706" providerId="AD" clId="Web-{42686058-A336-BBC9-9793-54BAC264C010}" dt="2023-11-19T19:56:53.967" v="172"/>
        <pc:sldMkLst>
          <pc:docMk/>
          <pc:sldMk cId="114004480" sldId="2147472293"/>
        </pc:sldMkLst>
      </pc:sldChg>
      <pc:sldChg chg="addSp modSp add replId">
        <pc:chgData name="Charlie Black" userId="S::cblack@vmware.com::d3f783e5-d337-40e6-8a98-394fb2f75706" providerId="AD" clId="Web-{42686058-A336-BBC9-9793-54BAC264C010}" dt="2023-11-19T01:14:39.316" v="148" actId="20577"/>
        <pc:sldMkLst>
          <pc:docMk/>
          <pc:sldMk cId="2793924538" sldId="2147472296"/>
        </pc:sldMkLst>
        <pc:spChg chg="add mod">
          <ac:chgData name="Charlie Black" userId="S::cblack@vmware.com::d3f783e5-d337-40e6-8a98-394fb2f75706" providerId="AD" clId="Web-{42686058-A336-BBC9-9793-54BAC264C010}" dt="2023-11-19T01:14:39.316" v="148" actId="20577"/>
          <ac:spMkLst>
            <pc:docMk/>
            <pc:sldMk cId="2793924538" sldId="2147472296"/>
            <ac:spMk id="3" creationId="{6E3092A6-AF3E-B1AF-A4D4-9A8DFE90A09D}"/>
          </ac:spMkLst>
        </pc:spChg>
      </pc:sldChg>
      <pc:sldChg chg="add">
        <pc:chgData name="Charlie Black" userId="S::cblack@vmware.com::d3f783e5-d337-40e6-8a98-394fb2f75706" providerId="AD" clId="Web-{42686058-A336-BBC9-9793-54BAC264C010}" dt="2023-11-19T19:56:59.030" v="175"/>
        <pc:sldMkLst>
          <pc:docMk/>
          <pc:sldMk cId="1772913091" sldId="2147472297"/>
        </pc:sldMkLst>
      </pc:sldChg>
      <pc:sldChg chg="add">
        <pc:chgData name="Charlie Black" userId="S::cblack@vmware.com::d3f783e5-d337-40e6-8a98-394fb2f75706" providerId="AD" clId="Web-{42686058-A336-BBC9-9793-54BAC264C010}" dt="2023-11-19T19:56:59.139" v="176"/>
        <pc:sldMkLst>
          <pc:docMk/>
          <pc:sldMk cId="3119567594" sldId="2147472298"/>
        </pc:sldMkLst>
      </pc:sldChg>
      <pc:sldChg chg="add">
        <pc:chgData name="Charlie Black" userId="S::cblack@vmware.com::d3f783e5-d337-40e6-8a98-394fb2f75706" providerId="AD" clId="Web-{42686058-A336-BBC9-9793-54BAC264C010}" dt="2023-11-19T19:56:59.420" v="177"/>
        <pc:sldMkLst>
          <pc:docMk/>
          <pc:sldMk cId="1507961087" sldId="2147472299"/>
        </pc:sldMkLst>
      </pc:sldChg>
      <pc:sldChg chg="add">
        <pc:chgData name="Charlie Black" userId="S::cblack@vmware.com::d3f783e5-d337-40e6-8a98-394fb2f75706" providerId="AD" clId="Web-{42686058-A336-BBC9-9793-54BAC264C010}" dt="2023-11-19T19:56:59.670" v="178"/>
        <pc:sldMkLst>
          <pc:docMk/>
          <pc:sldMk cId="3463122101" sldId="2147472300"/>
        </pc:sldMkLst>
      </pc:sldChg>
      <pc:sldChg chg="add">
        <pc:chgData name="Charlie Black" userId="S::cblack@vmware.com::d3f783e5-d337-40e6-8a98-394fb2f75706" providerId="AD" clId="Web-{42686058-A336-BBC9-9793-54BAC264C010}" dt="2023-11-19T19:56:59.764" v="179"/>
        <pc:sldMkLst>
          <pc:docMk/>
          <pc:sldMk cId="337033642" sldId="2147472301"/>
        </pc:sldMkLst>
      </pc:sldChg>
      <pc:sldChg chg="add replId">
        <pc:chgData name="Charlie Black" userId="S::cblack@vmware.com::d3f783e5-d337-40e6-8a98-394fb2f75706" providerId="AD" clId="Web-{42686058-A336-BBC9-9793-54BAC264C010}" dt="2023-11-19T20:04:33.968" v="186"/>
        <pc:sldMkLst>
          <pc:docMk/>
          <pc:sldMk cId="2248062188" sldId="2147472302"/>
        </pc:sldMkLst>
      </pc:sldChg>
      <pc:sldChg chg="add del replId">
        <pc:chgData name="Charlie Black" userId="S::cblack@vmware.com::d3f783e5-d337-40e6-8a98-394fb2f75706" providerId="AD" clId="Web-{42686058-A336-BBC9-9793-54BAC264C010}" dt="2023-11-19T20:10:56.087" v="188"/>
        <pc:sldMkLst>
          <pc:docMk/>
          <pc:sldMk cId="3728659336" sldId="2147472303"/>
        </pc:sldMkLst>
      </pc:sldChg>
      <pc:sldChg chg="addSp modSp add">
        <pc:chgData name="Charlie Black" userId="S::cblack@vmware.com::d3f783e5-d337-40e6-8a98-394fb2f75706" providerId="AD" clId="Web-{42686058-A336-BBC9-9793-54BAC264C010}" dt="2023-11-19T20:11:50.200" v="194"/>
        <pc:sldMkLst>
          <pc:docMk/>
          <pc:sldMk cId="3910809558" sldId="2147472303"/>
        </pc:sldMkLst>
        <pc:spChg chg="add mod">
          <ac:chgData name="Charlie Black" userId="S::cblack@vmware.com::d3f783e5-d337-40e6-8a98-394fb2f75706" providerId="AD" clId="Web-{42686058-A336-BBC9-9793-54BAC264C010}" dt="2023-11-19T20:11:50.200" v="194"/>
          <ac:spMkLst>
            <pc:docMk/>
            <pc:sldMk cId="3910809558" sldId="2147472303"/>
            <ac:spMk id="2" creationId="{133EDEB4-0A81-7054-BD61-6A75477F6D49}"/>
          </ac:spMkLst>
        </pc:spChg>
      </pc:sldChg>
    </pc:docChg>
  </pc:docChgLst>
  <pc:docChgLst>
    <pc:chgData name="Charlie Black" userId="d3f783e5-d337-40e6-8a98-394fb2f75706" providerId="ADAL" clId="{E0C81AF8-C4BB-47B8-869D-8FA44CD5A316}"/>
    <pc:docChg chg="undo custSel addSld delSld modSld sldOrd">
      <pc:chgData name="Charlie Black" userId="d3f783e5-d337-40e6-8a98-394fb2f75706" providerId="ADAL" clId="{E0C81AF8-C4BB-47B8-869D-8FA44CD5A316}" dt="2023-11-21T05:08:26.375" v="2384" actId="20577"/>
      <pc:docMkLst>
        <pc:docMk/>
      </pc:docMkLst>
      <pc:sldChg chg="delSp modSp add del mod">
        <pc:chgData name="Charlie Black" userId="d3f783e5-d337-40e6-8a98-394fb2f75706" providerId="ADAL" clId="{E0C81AF8-C4BB-47B8-869D-8FA44CD5A316}" dt="2023-11-20T01:28:55.907" v="822" actId="47"/>
        <pc:sldMkLst>
          <pc:docMk/>
          <pc:sldMk cId="0" sldId="270"/>
        </pc:sldMkLst>
        <pc:spChg chg="mod">
          <ac:chgData name="Charlie Black" userId="d3f783e5-d337-40e6-8a98-394fb2f75706" providerId="ADAL" clId="{E0C81AF8-C4BB-47B8-869D-8FA44CD5A316}" dt="2023-11-20T01:25:58.420" v="812" actId="1076"/>
          <ac:spMkLst>
            <pc:docMk/>
            <pc:sldMk cId="0" sldId="270"/>
            <ac:spMk id="527" creationId="{00000000-0000-0000-0000-000000000000}"/>
          </ac:spMkLst>
        </pc:spChg>
        <pc:spChg chg="del">
          <ac:chgData name="Charlie Black" userId="d3f783e5-d337-40e6-8a98-394fb2f75706" providerId="ADAL" clId="{E0C81AF8-C4BB-47B8-869D-8FA44CD5A316}" dt="2023-11-20T01:25:54.133" v="810" actId="478"/>
          <ac:spMkLst>
            <pc:docMk/>
            <pc:sldMk cId="0" sldId="270"/>
            <ac:spMk id="542" creationId="{00000000-0000-0000-0000-000000000000}"/>
          </ac:spMkLst>
        </pc:spChg>
        <pc:grpChg chg="mod">
          <ac:chgData name="Charlie Black" userId="d3f783e5-d337-40e6-8a98-394fb2f75706" providerId="ADAL" clId="{E0C81AF8-C4BB-47B8-869D-8FA44CD5A316}" dt="2023-11-20T01:27:49.267" v="821" actId="1076"/>
          <ac:grpSpMkLst>
            <pc:docMk/>
            <pc:sldMk cId="0" sldId="270"/>
            <ac:grpSpMk id="10" creationId="{2F1C0F62-4C0E-1CD6-1C41-0147BA633D78}"/>
          </ac:grpSpMkLst>
        </pc:grpChg>
        <pc:picChg chg="mod">
          <ac:chgData name="Charlie Black" userId="d3f783e5-d337-40e6-8a98-394fb2f75706" providerId="ADAL" clId="{E0C81AF8-C4BB-47B8-869D-8FA44CD5A316}" dt="2023-11-20T01:27:37.691" v="820" actId="1076"/>
          <ac:picMkLst>
            <pc:docMk/>
            <pc:sldMk cId="0" sldId="270"/>
            <ac:picMk id="11" creationId="{42D44993-CFE4-B318-6021-607228516C9D}"/>
          </ac:picMkLst>
        </pc:picChg>
      </pc:sldChg>
      <pc:sldChg chg="add del">
        <pc:chgData name="Charlie Black" userId="d3f783e5-d337-40e6-8a98-394fb2f75706" providerId="ADAL" clId="{E0C81AF8-C4BB-47B8-869D-8FA44CD5A316}" dt="2023-11-20T01:31:19.154" v="824" actId="47"/>
        <pc:sldMkLst>
          <pc:docMk/>
          <pc:sldMk cId="3594085389" sldId="341"/>
        </pc:sldMkLst>
      </pc:sldChg>
      <pc:sldChg chg="modSp add del mod">
        <pc:chgData name="Charlie Black" userId="d3f783e5-d337-40e6-8a98-394fb2f75706" providerId="ADAL" clId="{E0C81AF8-C4BB-47B8-869D-8FA44CD5A316}" dt="2023-11-20T01:31:16.788" v="823" actId="47"/>
        <pc:sldMkLst>
          <pc:docMk/>
          <pc:sldMk cId="693757846" sldId="345"/>
        </pc:sldMkLst>
        <pc:picChg chg="mod">
          <ac:chgData name="Charlie Black" userId="d3f783e5-d337-40e6-8a98-394fb2f75706" providerId="ADAL" clId="{E0C81AF8-C4BB-47B8-869D-8FA44CD5A316}" dt="2023-11-20T01:27:04.579" v="815" actId="1076"/>
          <ac:picMkLst>
            <pc:docMk/>
            <pc:sldMk cId="693757846" sldId="345"/>
            <ac:picMk id="2" creationId="{80CAC875-737C-6FCB-9E54-BA7365CE35FC}"/>
          </ac:picMkLst>
        </pc:picChg>
      </pc:sldChg>
      <pc:sldChg chg="del">
        <pc:chgData name="Charlie Black" userId="d3f783e5-d337-40e6-8a98-394fb2f75706" providerId="ADAL" clId="{E0C81AF8-C4BB-47B8-869D-8FA44CD5A316}" dt="2023-11-20T00:58:07.063" v="585" actId="47"/>
        <pc:sldMkLst>
          <pc:docMk/>
          <pc:sldMk cId="408917803" sldId="359"/>
        </pc:sldMkLst>
      </pc:sldChg>
      <pc:sldChg chg="modAnim">
        <pc:chgData name="Charlie Black" userId="d3f783e5-d337-40e6-8a98-394fb2f75706" providerId="ADAL" clId="{E0C81AF8-C4BB-47B8-869D-8FA44CD5A316}" dt="2023-11-21T05:04:06.349" v="2376"/>
        <pc:sldMkLst>
          <pc:docMk/>
          <pc:sldMk cId="1758960417" sldId="372"/>
        </pc:sldMkLst>
      </pc:sldChg>
      <pc:sldChg chg="modSp mod">
        <pc:chgData name="Charlie Black" userId="d3f783e5-d337-40e6-8a98-394fb2f75706" providerId="ADAL" clId="{E0C81AF8-C4BB-47B8-869D-8FA44CD5A316}" dt="2023-11-21T00:24:41.460" v="2362" actId="20577"/>
        <pc:sldMkLst>
          <pc:docMk/>
          <pc:sldMk cId="3579780174" sldId="1028"/>
        </pc:sldMkLst>
        <pc:spChg chg="mod">
          <ac:chgData name="Charlie Black" userId="d3f783e5-d337-40e6-8a98-394fb2f75706" providerId="ADAL" clId="{E0C81AF8-C4BB-47B8-869D-8FA44CD5A316}" dt="2023-11-21T00:24:41.460" v="2362" actId="20577"/>
          <ac:spMkLst>
            <pc:docMk/>
            <pc:sldMk cId="3579780174" sldId="1028"/>
            <ac:spMk id="5" creationId="{58C58C19-1223-06D7-4251-752B407F47B4}"/>
          </ac:spMkLst>
        </pc:spChg>
      </pc:sldChg>
      <pc:sldChg chg="add">
        <pc:chgData name="Charlie Black" userId="d3f783e5-d337-40e6-8a98-394fb2f75706" providerId="ADAL" clId="{E0C81AF8-C4BB-47B8-869D-8FA44CD5A316}" dt="2023-11-20T01:24:55.196" v="809"/>
        <pc:sldMkLst>
          <pc:docMk/>
          <pc:sldMk cId="3804985705" sldId="2026819479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3433629884" sldId="2147472262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2155913779" sldId="2147472263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3930251256" sldId="2147472265"/>
        </pc:sldMkLst>
      </pc:sldChg>
      <pc:sldChg chg="del">
        <pc:chgData name="Charlie Black" userId="d3f783e5-d337-40e6-8a98-394fb2f75706" providerId="ADAL" clId="{E0C81AF8-C4BB-47B8-869D-8FA44CD5A316}" dt="2023-11-20T00:56:39.409" v="579" actId="47"/>
        <pc:sldMkLst>
          <pc:docMk/>
          <pc:sldMk cId="679339495" sldId="2147472266"/>
        </pc:sldMkLst>
      </pc:sldChg>
      <pc:sldChg chg="del">
        <pc:chgData name="Charlie Black" userId="d3f783e5-d337-40e6-8a98-394fb2f75706" providerId="ADAL" clId="{E0C81AF8-C4BB-47B8-869D-8FA44CD5A316}" dt="2023-11-20T00:56:59.201" v="581" actId="47"/>
        <pc:sldMkLst>
          <pc:docMk/>
          <pc:sldMk cId="1053734873" sldId="2147472278"/>
        </pc:sldMkLst>
      </pc:sldChg>
      <pc:sldChg chg="del">
        <pc:chgData name="Charlie Black" userId="d3f783e5-d337-40e6-8a98-394fb2f75706" providerId="ADAL" clId="{E0C81AF8-C4BB-47B8-869D-8FA44CD5A316}" dt="2023-11-20T00:58:07.063" v="585" actId="47"/>
        <pc:sldMkLst>
          <pc:docMk/>
          <pc:sldMk cId="24516922" sldId="2147472280"/>
        </pc:sldMkLst>
      </pc:sldChg>
      <pc:sldChg chg="del">
        <pc:chgData name="Charlie Black" userId="d3f783e5-d337-40e6-8a98-394fb2f75706" providerId="ADAL" clId="{E0C81AF8-C4BB-47B8-869D-8FA44CD5A316}" dt="2023-11-20T00:57:22.603" v="582" actId="47"/>
        <pc:sldMkLst>
          <pc:docMk/>
          <pc:sldMk cId="3663482619" sldId="2147472282"/>
        </pc:sldMkLst>
      </pc:sldChg>
      <pc:sldChg chg="del">
        <pc:chgData name="Charlie Black" userId="d3f783e5-d337-40e6-8a98-394fb2f75706" providerId="ADAL" clId="{E0C81AF8-C4BB-47B8-869D-8FA44CD5A316}" dt="2023-11-20T00:58:10.345" v="586" actId="2696"/>
        <pc:sldMkLst>
          <pc:docMk/>
          <pc:sldMk cId="1020721629" sldId="2147472283"/>
        </pc:sldMkLst>
      </pc:sldChg>
      <pc:sldChg chg="del">
        <pc:chgData name="Charlie Black" userId="d3f783e5-d337-40e6-8a98-394fb2f75706" providerId="ADAL" clId="{E0C81AF8-C4BB-47B8-869D-8FA44CD5A316}" dt="2023-11-20T00:57:33.554" v="583" actId="47"/>
        <pc:sldMkLst>
          <pc:docMk/>
          <pc:sldMk cId="1374124500" sldId="2147472284"/>
        </pc:sldMkLst>
      </pc:sldChg>
      <pc:sldChg chg="modSp mod">
        <pc:chgData name="Charlie Black" userId="d3f783e5-d337-40e6-8a98-394fb2f75706" providerId="ADAL" clId="{E0C81AF8-C4BB-47B8-869D-8FA44CD5A316}" dt="2023-11-20T03:36:14.644" v="2224" actId="20577"/>
        <pc:sldMkLst>
          <pc:docMk/>
          <pc:sldMk cId="1115059806" sldId="2147472285"/>
        </pc:sldMkLst>
        <pc:spChg chg="mod">
          <ac:chgData name="Charlie Black" userId="d3f783e5-d337-40e6-8a98-394fb2f75706" providerId="ADAL" clId="{E0C81AF8-C4BB-47B8-869D-8FA44CD5A316}" dt="2023-11-20T03:36:14.644" v="2224" actId="20577"/>
          <ac:spMkLst>
            <pc:docMk/>
            <pc:sldMk cId="1115059806" sldId="2147472285"/>
            <ac:spMk id="3" creationId="{B7020BCC-2553-B953-44BF-E8B309AC82D1}"/>
          </ac:spMkLst>
        </pc:spChg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1724640725" sldId="2147472286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582620664" sldId="2147472287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2221757078" sldId="2147472288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1031237760" sldId="2147472289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2745418329" sldId="2147472290"/>
        </pc:sldMkLst>
      </pc:sldChg>
      <pc:sldChg chg="del">
        <pc:chgData name="Charlie Black" userId="d3f783e5-d337-40e6-8a98-394fb2f75706" providerId="ADAL" clId="{E0C81AF8-C4BB-47B8-869D-8FA44CD5A316}" dt="2023-11-20T00:56:47.443" v="580" actId="47"/>
        <pc:sldMkLst>
          <pc:docMk/>
          <pc:sldMk cId="3653273672" sldId="2147472291"/>
        </pc:sldMkLst>
      </pc:sldChg>
      <pc:sldChg chg="del">
        <pc:chgData name="Charlie Black" userId="d3f783e5-d337-40e6-8a98-394fb2f75706" providerId="ADAL" clId="{E0C81AF8-C4BB-47B8-869D-8FA44CD5A316}" dt="2023-11-20T00:57:36.042" v="584" actId="47"/>
        <pc:sldMkLst>
          <pc:docMk/>
          <pc:sldMk cId="1872845083" sldId="2147472294"/>
        </pc:sldMkLst>
      </pc:sldChg>
      <pc:sldChg chg="addSp delSp modSp mod">
        <pc:chgData name="Charlie Black" userId="d3f783e5-d337-40e6-8a98-394fb2f75706" providerId="ADAL" clId="{E0C81AF8-C4BB-47B8-869D-8FA44CD5A316}" dt="2023-11-20T02:35:03.901" v="1856" actId="20577"/>
        <pc:sldMkLst>
          <pc:docMk/>
          <pc:sldMk cId="1635074630" sldId="2147472295"/>
        </pc:sldMkLst>
        <pc:spChg chg="add del mod">
          <ac:chgData name="Charlie Black" userId="d3f783e5-d337-40e6-8a98-394fb2f75706" providerId="ADAL" clId="{E0C81AF8-C4BB-47B8-869D-8FA44CD5A316}" dt="2023-11-20T02:35:03.901" v="1856" actId="20577"/>
          <ac:spMkLst>
            <pc:docMk/>
            <pc:sldMk cId="1635074630" sldId="2147472295"/>
            <ac:spMk id="2" creationId="{6568E5AC-0F6B-14CB-5036-913016C4FC31}"/>
          </ac:spMkLst>
        </pc:spChg>
      </pc:sldChg>
      <pc:sldChg chg="del">
        <pc:chgData name="Charlie Black" userId="d3f783e5-d337-40e6-8a98-394fb2f75706" providerId="ADAL" clId="{E0C81AF8-C4BB-47B8-869D-8FA44CD5A316}" dt="2023-11-21T00:19:05.772" v="2233" actId="2696"/>
        <pc:sldMkLst>
          <pc:docMk/>
          <pc:sldMk cId="1772913091" sldId="2147472297"/>
        </pc:sldMkLst>
      </pc:sldChg>
      <pc:sldChg chg="del">
        <pc:chgData name="Charlie Black" userId="d3f783e5-d337-40e6-8a98-394fb2f75706" providerId="ADAL" clId="{E0C81AF8-C4BB-47B8-869D-8FA44CD5A316}" dt="2023-11-21T00:19:05.772" v="2233" actId="2696"/>
        <pc:sldMkLst>
          <pc:docMk/>
          <pc:sldMk cId="3119567594" sldId="2147472298"/>
        </pc:sldMkLst>
      </pc:sldChg>
      <pc:sldChg chg="addSp modSp del mod">
        <pc:chgData name="Charlie Black" userId="d3f783e5-d337-40e6-8a98-394fb2f75706" providerId="ADAL" clId="{E0C81AF8-C4BB-47B8-869D-8FA44CD5A316}" dt="2023-11-20T00:31:54.244" v="290" actId="47"/>
        <pc:sldMkLst>
          <pc:docMk/>
          <pc:sldMk cId="3910809558" sldId="2147472303"/>
        </pc:sldMkLst>
        <pc:spChg chg="mod">
          <ac:chgData name="Charlie Black" userId="d3f783e5-d337-40e6-8a98-394fb2f75706" providerId="ADAL" clId="{E0C81AF8-C4BB-47B8-869D-8FA44CD5A316}" dt="2023-11-19T20:14:36.474" v="20" actId="207"/>
          <ac:spMkLst>
            <pc:docMk/>
            <pc:sldMk cId="3910809558" sldId="2147472303"/>
            <ac:spMk id="2" creationId="{133EDEB4-0A81-7054-BD61-6A75477F6D49}"/>
          </ac:spMkLst>
        </pc:spChg>
        <pc:spChg chg="add mod">
          <ac:chgData name="Charlie Black" userId="d3f783e5-d337-40e6-8a98-394fb2f75706" providerId="ADAL" clId="{E0C81AF8-C4BB-47B8-869D-8FA44CD5A316}" dt="2023-11-19T20:14:56.140" v="24" actId="1076"/>
          <ac:spMkLst>
            <pc:docMk/>
            <pc:sldMk cId="3910809558" sldId="2147472303"/>
            <ac:spMk id="4" creationId="{897590EA-0A6B-E38A-0EAF-4F877736D401}"/>
          </ac:spMkLst>
        </pc:spChg>
      </pc:sldChg>
      <pc:sldChg chg="addSp delSp modSp new mod ord">
        <pc:chgData name="Charlie Black" userId="d3f783e5-d337-40e6-8a98-394fb2f75706" providerId="ADAL" clId="{E0C81AF8-C4BB-47B8-869D-8FA44CD5A316}" dt="2023-11-21T05:02:32.443" v="2365" actId="113"/>
        <pc:sldMkLst>
          <pc:docMk/>
          <pc:sldMk cId="2617400446" sldId="2147472304"/>
        </pc:sldMkLst>
        <pc:spChg chg="mod">
          <ac:chgData name="Charlie Black" userId="d3f783e5-d337-40e6-8a98-394fb2f75706" providerId="ADAL" clId="{E0C81AF8-C4BB-47B8-869D-8FA44CD5A316}" dt="2023-11-19T20:17:06.923" v="41" actId="20577"/>
          <ac:spMkLst>
            <pc:docMk/>
            <pc:sldMk cId="2617400446" sldId="2147472304"/>
            <ac:spMk id="2" creationId="{1D12688B-9D2E-AE79-48D4-0D0488470606}"/>
          </ac:spMkLst>
        </pc:spChg>
        <pc:spChg chg="mod">
          <ac:chgData name="Charlie Black" userId="d3f783e5-d337-40e6-8a98-394fb2f75706" providerId="ADAL" clId="{E0C81AF8-C4BB-47B8-869D-8FA44CD5A316}" dt="2023-11-21T00:21:44.900" v="2250" actId="20577"/>
          <ac:spMkLst>
            <pc:docMk/>
            <pc:sldMk cId="2617400446" sldId="2147472304"/>
            <ac:spMk id="3" creationId="{D30D3634-9D53-0667-4570-72C1838A6EC3}"/>
          </ac:spMkLst>
        </pc:spChg>
        <pc:spChg chg="mod">
          <ac:chgData name="Charlie Black" userId="d3f783e5-d337-40e6-8a98-394fb2f75706" providerId="ADAL" clId="{E0C81AF8-C4BB-47B8-869D-8FA44CD5A316}" dt="2023-11-21T05:02:32.443" v="2365" actId="113"/>
          <ac:spMkLst>
            <pc:docMk/>
            <pc:sldMk cId="2617400446" sldId="2147472304"/>
            <ac:spMk id="4" creationId="{8C750E9A-FAA2-E2A1-6ED8-4B89B284E45D}"/>
          </ac:spMkLst>
        </pc:spChg>
        <pc:spChg chg="add del">
          <ac:chgData name="Charlie Black" userId="d3f783e5-d337-40e6-8a98-394fb2f75706" providerId="ADAL" clId="{E0C81AF8-C4BB-47B8-869D-8FA44CD5A316}" dt="2023-11-19T20:22:56.608" v="150"/>
          <ac:spMkLst>
            <pc:docMk/>
            <pc:sldMk cId="2617400446" sldId="2147472304"/>
            <ac:spMk id="5" creationId="{B14F9601-88BD-F25B-2E91-B8C162D6B5C2}"/>
          </ac:spMkLst>
        </pc:spChg>
        <pc:spChg chg="add mod topLvl">
          <ac:chgData name="Charlie Black" userId="d3f783e5-d337-40e6-8a98-394fb2f75706" providerId="ADAL" clId="{E0C81AF8-C4BB-47B8-869D-8FA44CD5A316}" dt="2023-11-20T00:40:43.371" v="348" actId="164"/>
          <ac:spMkLst>
            <pc:docMk/>
            <pc:sldMk cId="2617400446" sldId="2147472304"/>
            <ac:spMk id="9" creationId="{27E049D4-DB99-D6BB-45F5-03AEC63B5F38}"/>
          </ac:spMkLst>
        </pc:spChg>
        <pc:spChg chg="add del mod">
          <ac:chgData name="Charlie Black" userId="d3f783e5-d337-40e6-8a98-394fb2f75706" providerId="ADAL" clId="{E0C81AF8-C4BB-47B8-869D-8FA44CD5A316}" dt="2023-11-20T00:45:52.172" v="440" actId="478"/>
          <ac:spMkLst>
            <pc:docMk/>
            <pc:sldMk cId="2617400446" sldId="2147472304"/>
            <ac:spMk id="16" creationId="{2A2C2DDD-F986-2A0E-73AA-3842518C2879}"/>
          </ac:spMkLst>
        </pc:spChg>
        <pc:spChg chg="add mod">
          <ac:chgData name="Charlie Black" userId="d3f783e5-d337-40e6-8a98-394fb2f75706" providerId="ADAL" clId="{E0C81AF8-C4BB-47B8-869D-8FA44CD5A316}" dt="2023-11-20T00:50:26.284" v="496" actId="1076"/>
          <ac:spMkLst>
            <pc:docMk/>
            <pc:sldMk cId="2617400446" sldId="2147472304"/>
            <ac:spMk id="17" creationId="{03A00B3C-BB20-87EF-D052-9B740B199BC2}"/>
          </ac:spMkLst>
        </pc:spChg>
        <pc:spChg chg="add mod">
          <ac:chgData name="Charlie Black" userId="d3f783e5-d337-40e6-8a98-394fb2f75706" providerId="ADAL" clId="{E0C81AF8-C4BB-47B8-869D-8FA44CD5A316}" dt="2023-11-20T00:50:26.284" v="496" actId="1076"/>
          <ac:spMkLst>
            <pc:docMk/>
            <pc:sldMk cId="2617400446" sldId="2147472304"/>
            <ac:spMk id="18" creationId="{9EF3002D-8B9F-A40D-B2F3-89294402016B}"/>
          </ac:spMkLst>
        </pc:spChg>
        <pc:spChg chg="add mod">
          <ac:chgData name="Charlie Black" userId="d3f783e5-d337-40e6-8a98-394fb2f75706" providerId="ADAL" clId="{E0C81AF8-C4BB-47B8-869D-8FA44CD5A316}" dt="2023-11-20T00:50:26.284" v="496" actId="1076"/>
          <ac:spMkLst>
            <pc:docMk/>
            <pc:sldMk cId="2617400446" sldId="2147472304"/>
            <ac:spMk id="19" creationId="{6CA19207-B229-DFFB-B192-78A37EFF9964}"/>
          </ac:spMkLst>
        </pc:spChg>
        <pc:spChg chg="add mod">
          <ac:chgData name="Charlie Black" userId="d3f783e5-d337-40e6-8a98-394fb2f75706" providerId="ADAL" clId="{E0C81AF8-C4BB-47B8-869D-8FA44CD5A316}" dt="2023-11-20T00:50:26.284" v="496" actId="1076"/>
          <ac:spMkLst>
            <pc:docMk/>
            <pc:sldMk cId="2617400446" sldId="2147472304"/>
            <ac:spMk id="21" creationId="{D832D67C-FC88-B1C5-E4B0-0051D3EDF50E}"/>
          </ac:spMkLst>
        </pc:spChg>
        <pc:spChg chg="add mod">
          <ac:chgData name="Charlie Black" userId="d3f783e5-d337-40e6-8a98-394fb2f75706" providerId="ADAL" clId="{E0C81AF8-C4BB-47B8-869D-8FA44CD5A316}" dt="2023-11-20T00:50:26.284" v="496" actId="1076"/>
          <ac:spMkLst>
            <pc:docMk/>
            <pc:sldMk cId="2617400446" sldId="2147472304"/>
            <ac:spMk id="23" creationId="{B7FD2119-4A2C-7C4F-6CA2-FD03DB096202}"/>
          </ac:spMkLst>
        </pc:spChg>
        <pc:grpChg chg="add del mod">
          <ac:chgData name="Charlie Black" userId="d3f783e5-d337-40e6-8a98-394fb2f75706" providerId="ADAL" clId="{E0C81AF8-C4BB-47B8-869D-8FA44CD5A316}" dt="2023-11-20T00:40:34.249" v="346" actId="165"/>
          <ac:grpSpMkLst>
            <pc:docMk/>
            <pc:sldMk cId="2617400446" sldId="2147472304"/>
            <ac:grpSpMk id="13" creationId="{5D0CE143-FAD2-DC56-4D4A-F441811F16BD}"/>
          </ac:grpSpMkLst>
        </pc:grpChg>
        <pc:grpChg chg="add del mod">
          <ac:chgData name="Charlie Black" userId="d3f783e5-d337-40e6-8a98-394fb2f75706" providerId="ADAL" clId="{E0C81AF8-C4BB-47B8-869D-8FA44CD5A316}" dt="2023-11-20T00:40:54.086" v="351" actId="21"/>
          <ac:grpSpMkLst>
            <pc:docMk/>
            <pc:sldMk cId="2617400446" sldId="2147472304"/>
            <ac:grpSpMk id="14" creationId="{AEC016AC-D173-D649-7BAE-F0B889501150}"/>
          </ac:grpSpMkLst>
        </pc:grpChg>
        <pc:grpChg chg="add mod">
          <ac:chgData name="Charlie Black" userId="d3f783e5-d337-40e6-8a98-394fb2f75706" providerId="ADAL" clId="{E0C81AF8-C4BB-47B8-869D-8FA44CD5A316}" dt="2023-11-20T00:50:26.284" v="496" actId="1076"/>
          <ac:grpSpMkLst>
            <pc:docMk/>
            <pc:sldMk cId="2617400446" sldId="2147472304"/>
            <ac:grpSpMk id="24" creationId="{D7ADD9DC-C8FA-A309-C678-DF44E92500F0}"/>
          </ac:grpSpMkLst>
        </pc:grpChg>
        <pc:picChg chg="add mod topLvl">
          <ac:chgData name="Charlie Black" userId="d3f783e5-d337-40e6-8a98-394fb2f75706" providerId="ADAL" clId="{E0C81AF8-C4BB-47B8-869D-8FA44CD5A316}" dt="2023-11-20T00:40:43.371" v="348" actId="164"/>
          <ac:picMkLst>
            <pc:docMk/>
            <pc:sldMk cId="2617400446" sldId="2147472304"/>
            <ac:picMk id="6" creationId="{30D6411C-BE80-AFE7-FA61-71EDEF9EEBEA}"/>
          </ac:picMkLst>
        </pc:picChg>
        <pc:picChg chg="add mod topLvl">
          <ac:chgData name="Charlie Black" userId="d3f783e5-d337-40e6-8a98-394fb2f75706" providerId="ADAL" clId="{E0C81AF8-C4BB-47B8-869D-8FA44CD5A316}" dt="2023-11-20T00:40:43.371" v="348" actId="164"/>
          <ac:picMkLst>
            <pc:docMk/>
            <pc:sldMk cId="2617400446" sldId="2147472304"/>
            <ac:picMk id="7" creationId="{50B7AEC5-80CE-A98A-9FE3-206881D30C7F}"/>
          </ac:picMkLst>
        </pc:picChg>
        <pc:picChg chg="add mod topLvl">
          <ac:chgData name="Charlie Black" userId="d3f783e5-d337-40e6-8a98-394fb2f75706" providerId="ADAL" clId="{E0C81AF8-C4BB-47B8-869D-8FA44CD5A316}" dt="2023-11-20T00:40:43.371" v="348" actId="164"/>
          <ac:picMkLst>
            <pc:docMk/>
            <pc:sldMk cId="2617400446" sldId="2147472304"/>
            <ac:picMk id="8" creationId="{A1222007-883C-809E-EFEE-D4D1D5A14CD2}"/>
          </ac:picMkLst>
        </pc:picChg>
        <pc:picChg chg="add mod">
          <ac:chgData name="Charlie Black" userId="d3f783e5-d337-40e6-8a98-394fb2f75706" providerId="ADAL" clId="{E0C81AF8-C4BB-47B8-869D-8FA44CD5A316}" dt="2023-11-20T00:50:21.638" v="495" actId="1076"/>
          <ac:picMkLst>
            <pc:docMk/>
            <pc:sldMk cId="2617400446" sldId="2147472304"/>
            <ac:picMk id="15" creationId="{113E0A79-7893-EF00-C6EF-A3E5ADFFFB99}"/>
          </ac:picMkLst>
        </pc:picChg>
        <pc:cxnChg chg="add mod topLvl">
          <ac:chgData name="Charlie Black" userId="d3f783e5-d337-40e6-8a98-394fb2f75706" providerId="ADAL" clId="{E0C81AF8-C4BB-47B8-869D-8FA44CD5A316}" dt="2023-11-20T00:40:54.086" v="351" actId="21"/>
          <ac:cxnSpMkLst>
            <pc:docMk/>
            <pc:sldMk cId="2617400446" sldId="2147472304"/>
            <ac:cxnSpMk id="10" creationId="{65851C58-B934-AA98-FA59-B0EBD0C7D468}"/>
          </ac:cxnSpMkLst>
        </pc:cxnChg>
        <pc:cxnChg chg="add mod topLvl">
          <ac:chgData name="Charlie Black" userId="d3f783e5-d337-40e6-8a98-394fb2f75706" providerId="ADAL" clId="{E0C81AF8-C4BB-47B8-869D-8FA44CD5A316}" dt="2023-11-20T00:40:54.086" v="351" actId="21"/>
          <ac:cxnSpMkLst>
            <pc:docMk/>
            <pc:sldMk cId="2617400446" sldId="2147472304"/>
            <ac:cxnSpMk id="11" creationId="{3C2E006F-637F-36C0-B540-05506B8E4216}"/>
          </ac:cxnSpMkLst>
        </pc:cxnChg>
        <pc:cxnChg chg="add del mod topLvl">
          <ac:chgData name="Charlie Black" userId="d3f783e5-d337-40e6-8a98-394fb2f75706" providerId="ADAL" clId="{E0C81AF8-C4BB-47B8-869D-8FA44CD5A316}" dt="2023-11-20T00:40:37.039" v="347" actId="478"/>
          <ac:cxnSpMkLst>
            <pc:docMk/>
            <pc:sldMk cId="2617400446" sldId="2147472304"/>
            <ac:cxnSpMk id="12" creationId="{017F9EBF-8770-B5D9-B597-31138CE343EF}"/>
          </ac:cxnSpMkLst>
        </pc:cxnChg>
      </pc:sldChg>
      <pc:sldChg chg="addSp delSp modSp new mod modNotesTx">
        <pc:chgData name="Charlie Black" userId="d3f783e5-d337-40e6-8a98-394fb2f75706" providerId="ADAL" clId="{E0C81AF8-C4BB-47B8-869D-8FA44CD5A316}" dt="2023-11-20T03:32:26.901" v="2108" actId="404"/>
        <pc:sldMkLst>
          <pc:docMk/>
          <pc:sldMk cId="3526637453" sldId="2147472305"/>
        </pc:sldMkLst>
        <pc:spChg chg="mod">
          <ac:chgData name="Charlie Black" userId="d3f783e5-d337-40e6-8a98-394fb2f75706" providerId="ADAL" clId="{E0C81AF8-C4BB-47B8-869D-8FA44CD5A316}" dt="2023-11-20T00:56:11.203" v="560" actId="20577"/>
          <ac:spMkLst>
            <pc:docMk/>
            <pc:sldMk cId="3526637453" sldId="2147472305"/>
            <ac:spMk id="2" creationId="{A6A4D1D0-FED1-8F89-4007-120E4C117605}"/>
          </ac:spMkLst>
        </pc:spChg>
        <pc:spChg chg="mod">
          <ac:chgData name="Charlie Black" userId="d3f783e5-d337-40e6-8a98-394fb2f75706" providerId="ADAL" clId="{E0C81AF8-C4BB-47B8-869D-8FA44CD5A316}" dt="2023-11-20T03:32:05.189" v="2104" actId="6549"/>
          <ac:spMkLst>
            <pc:docMk/>
            <pc:sldMk cId="3526637453" sldId="2147472305"/>
            <ac:spMk id="3" creationId="{84D58FE8-1805-2B4C-FDBC-2E0A33AD7395}"/>
          </ac:spMkLst>
        </pc:spChg>
        <pc:spChg chg="add del mod">
          <ac:chgData name="Charlie Black" userId="d3f783e5-d337-40e6-8a98-394fb2f75706" providerId="ADAL" clId="{E0C81AF8-C4BB-47B8-869D-8FA44CD5A316}" dt="2023-11-20T03:32:26.901" v="2108" actId="404"/>
          <ac:spMkLst>
            <pc:docMk/>
            <pc:sldMk cId="3526637453" sldId="2147472305"/>
            <ac:spMk id="4" creationId="{A2E5E2B8-2FBA-7B40-F090-DEEF74DF399D}"/>
          </ac:spMkLst>
        </pc:spChg>
        <pc:spChg chg="add del mod">
          <ac:chgData name="Charlie Black" userId="d3f783e5-d337-40e6-8a98-394fb2f75706" providerId="ADAL" clId="{E0C81AF8-C4BB-47B8-869D-8FA44CD5A316}" dt="2023-11-20T00:51:31.083" v="501"/>
          <ac:spMkLst>
            <pc:docMk/>
            <pc:sldMk cId="3526637453" sldId="2147472305"/>
            <ac:spMk id="5" creationId="{3D41B0DB-05E6-32F2-BDE1-94065BADC932}"/>
          </ac:spMkLst>
        </pc:spChg>
        <pc:spChg chg="add del mod">
          <ac:chgData name="Charlie Black" userId="d3f783e5-d337-40e6-8a98-394fb2f75706" providerId="ADAL" clId="{E0C81AF8-C4BB-47B8-869D-8FA44CD5A316}" dt="2023-11-20T00:51:47.350" v="512"/>
          <ac:spMkLst>
            <pc:docMk/>
            <pc:sldMk cId="3526637453" sldId="2147472305"/>
            <ac:spMk id="6" creationId="{4CA251C8-6A01-2992-FA44-35E544AA3245}"/>
          </ac:spMkLst>
        </pc:spChg>
        <pc:picChg chg="add del mod">
          <ac:chgData name="Charlie Black" userId="d3f783e5-d337-40e6-8a98-394fb2f75706" providerId="ADAL" clId="{E0C81AF8-C4BB-47B8-869D-8FA44CD5A316}" dt="2023-11-20T03:28:20.190" v="2073" actId="22"/>
          <ac:picMkLst>
            <pc:docMk/>
            <pc:sldMk cId="3526637453" sldId="2147472305"/>
            <ac:picMk id="8" creationId="{F8E700E9-DAFA-88F4-D4EC-A9C5D803F374}"/>
          </ac:picMkLst>
        </pc:picChg>
      </pc:sldChg>
      <pc:sldChg chg="addSp delSp modSp new mod ord">
        <pc:chgData name="Charlie Black" userId="d3f783e5-d337-40e6-8a98-394fb2f75706" providerId="ADAL" clId="{E0C81AF8-C4BB-47B8-869D-8FA44CD5A316}" dt="2023-11-20T03:34:05.340" v="2144"/>
        <pc:sldMkLst>
          <pc:docMk/>
          <pc:sldMk cId="1588558538" sldId="2147472306"/>
        </pc:sldMkLst>
        <pc:spChg chg="mod">
          <ac:chgData name="Charlie Black" userId="d3f783e5-d337-40e6-8a98-394fb2f75706" providerId="ADAL" clId="{E0C81AF8-C4BB-47B8-869D-8FA44CD5A316}" dt="2023-11-20T01:10:53.467" v="770" actId="20577"/>
          <ac:spMkLst>
            <pc:docMk/>
            <pc:sldMk cId="1588558538" sldId="2147472306"/>
            <ac:spMk id="2" creationId="{69F1B613-2B30-7EA6-F9B8-D92BD50551F2}"/>
          </ac:spMkLst>
        </pc:spChg>
        <pc:spChg chg="mod">
          <ac:chgData name="Charlie Black" userId="d3f783e5-d337-40e6-8a98-394fb2f75706" providerId="ADAL" clId="{E0C81AF8-C4BB-47B8-869D-8FA44CD5A316}" dt="2023-11-20T02:21:33.171" v="1589" actId="20577"/>
          <ac:spMkLst>
            <pc:docMk/>
            <pc:sldMk cId="1588558538" sldId="2147472306"/>
            <ac:spMk id="3" creationId="{91C2DE1A-2768-D65F-704C-52DB91EE7465}"/>
          </ac:spMkLst>
        </pc:spChg>
        <pc:spChg chg="del">
          <ac:chgData name="Charlie Black" userId="d3f783e5-d337-40e6-8a98-394fb2f75706" providerId="ADAL" clId="{E0C81AF8-C4BB-47B8-869D-8FA44CD5A316}" dt="2023-11-20T01:08:10.355" v="593"/>
          <ac:spMkLst>
            <pc:docMk/>
            <pc:sldMk cId="1588558538" sldId="2147472306"/>
            <ac:spMk id="4" creationId="{20C67B66-EE50-9423-F8C2-323BFF971233}"/>
          </ac:spMkLst>
        </pc:spChg>
        <pc:spChg chg="add mod">
          <ac:chgData name="Charlie Black" userId="d3f783e5-d337-40e6-8a98-394fb2f75706" providerId="ADAL" clId="{E0C81AF8-C4BB-47B8-869D-8FA44CD5A316}" dt="2023-11-20T03:33:01.196" v="2142" actId="20577"/>
          <ac:spMkLst>
            <pc:docMk/>
            <pc:sldMk cId="1588558538" sldId="2147472306"/>
            <ac:spMk id="5" creationId="{4F1B74AB-C47A-A28C-7613-9242DB280DDD}"/>
          </ac:spMkLst>
        </pc:spChg>
        <pc:spChg chg="add del">
          <ac:chgData name="Charlie Black" userId="d3f783e5-d337-40e6-8a98-394fb2f75706" providerId="ADAL" clId="{E0C81AF8-C4BB-47B8-869D-8FA44CD5A316}" dt="2023-11-20T01:08:36.261" v="600"/>
          <ac:spMkLst>
            <pc:docMk/>
            <pc:sldMk cId="1588558538" sldId="2147472306"/>
            <ac:spMk id="6" creationId="{9CD89836-39B3-FAC1-F81C-031A81D8EA6A}"/>
          </ac:spMkLst>
        </pc:spChg>
        <pc:spChg chg="add del mod">
          <ac:chgData name="Charlie Black" userId="d3f783e5-d337-40e6-8a98-394fb2f75706" providerId="ADAL" clId="{E0C81AF8-C4BB-47B8-869D-8FA44CD5A316}" dt="2023-11-20T01:08:35.172" v="598"/>
          <ac:spMkLst>
            <pc:docMk/>
            <pc:sldMk cId="1588558538" sldId="2147472306"/>
            <ac:spMk id="7" creationId="{0D58A69D-48B8-7ECB-4B73-8B3D8CAE0047}"/>
          </ac:spMkLst>
        </pc:spChg>
        <pc:spChg chg="add del">
          <ac:chgData name="Charlie Black" userId="d3f783e5-d337-40e6-8a98-394fb2f75706" providerId="ADAL" clId="{E0C81AF8-C4BB-47B8-869D-8FA44CD5A316}" dt="2023-11-20T01:08:41.957" v="603"/>
          <ac:spMkLst>
            <pc:docMk/>
            <pc:sldMk cId="1588558538" sldId="2147472306"/>
            <ac:spMk id="8" creationId="{C1F6C73F-0365-AD34-C84F-161634279CFF}"/>
          </ac:spMkLst>
        </pc:spChg>
        <pc:spChg chg="add mod">
          <ac:chgData name="Charlie Black" userId="d3f783e5-d337-40e6-8a98-394fb2f75706" providerId="ADAL" clId="{E0C81AF8-C4BB-47B8-869D-8FA44CD5A316}" dt="2023-11-20T01:09:04.631" v="607" actId="21"/>
          <ac:spMkLst>
            <pc:docMk/>
            <pc:sldMk cId="1588558538" sldId="2147472306"/>
            <ac:spMk id="9" creationId="{7045C1EC-5560-79FC-A24A-7861C28CA0BB}"/>
          </ac:spMkLst>
        </pc:spChg>
      </pc:sldChg>
      <pc:sldChg chg="addSp delSp modSp new mod">
        <pc:chgData name="Charlie Black" userId="d3f783e5-d337-40e6-8a98-394fb2f75706" providerId="ADAL" clId="{E0C81AF8-C4BB-47B8-869D-8FA44CD5A316}" dt="2023-11-20T02:35:31.893" v="1860" actId="1076"/>
        <pc:sldMkLst>
          <pc:docMk/>
          <pc:sldMk cId="3263510183" sldId="2147472307"/>
        </pc:sldMkLst>
        <pc:spChg chg="mod">
          <ac:chgData name="Charlie Black" userId="d3f783e5-d337-40e6-8a98-394fb2f75706" providerId="ADAL" clId="{E0C81AF8-C4BB-47B8-869D-8FA44CD5A316}" dt="2023-11-20T01:39:46.620" v="945"/>
          <ac:spMkLst>
            <pc:docMk/>
            <pc:sldMk cId="3263510183" sldId="2147472307"/>
            <ac:spMk id="2" creationId="{6FC72B24-2EE6-EA95-586B-1A8C41F6F5B9}"/>
          </ac:spMkLst>
        </pc:spChg>
        <pc:spChg chg="mod">
          <ac:chgData name="Charlie Black" userId="d3f783e5-d337-40e6-8a98-394fb2f75706" providerId="ADAL" clId="{E0C81AF8-C4BB-47B8-869D-8FA44CD5A316}" dt="2023-11-20T02:00:11.076" v="1101" actId="20577"/>
          <ac:spMkLst>
            <pc:docMk/>
            <pc:sldMk cId="3263510183" sldId="2147472307"/>
            <ac:spMk id="3" creationId="{80120883-5BF7-E923-56DB-FEC1E0997464}"/>
          </ac:spMkLst>
        </pc:spChg>
        <pc:spChg chg="del">
          <ac:chgData name="Charlie Black" userId="d3f783e5-d337-40e6-8a98-394fb2f75706" providerId="ADAL" clId="{E0C81AF8-C4BB-47B8-869D-8FA44CD5A316}" dt="2023-11-20T01:39:36.676" v="944" actId="22"/>
          <ac:spMkLst>
            <pc:docMk/>
            <pc:sldMk cId="3263510183" sldId="2147472307"/>
            <ac:spMk id="4" creationId="{C5779C5C-9ABB-1EC3-427F-482D47B42814}"/>
          </ac:spMkLst>
        </pc:spChg>
        <pc:spChg chg="add del mod">
          <ac:chgData name="Charlie Black" userId="d3f783e5-d337-40e6-8a98-394fb2f75706" providerId="ADAL" clId="{E0C81AF8-C4BB-47B8-869D-8FA44CD5A316}" dt="2023-11-20T02:30:41.500" v="1731" actId="22"/>
          <ac:spMkLst>
            <pc:docMk/>
            <pc:sldMk cId="3263510183" sldId="2147472307"/>
            <ac:spMk id="8" creationId="{97D8B450-E077-79FF-C43C-6A73D45909EA}"/>
          </ac:spMkLst>
        </pc:spChg>
        <pc:spChg chg="add del">
          <ac:chgData name="Charlie Black" userId="d3f783e5-d337-40e6-8a98-394fb2f75706" providerId="ADAL" clId="{E0C81AF8-C4BB-47B8-869D-8FA44CD5A316}" dt="2023-11-20T02:35:30.379" v="1859" actId="22"/>
          <ac:spMkLst>
            <pc:docMk/>
            <pc:sldMk cId="3263510183" sldId="2147472307"/>
            <ac:spMk id="14" creationId="{1B2E353A-96A0-CDF8-D2C1-65B68FCF6BB7}"/>
          </ac:spMkLst>
        </pc:spChg>
        <pc:picChg chg="add del mod ord">
          <ac:chgData name="Charlie Black" userId="d3f783e5-d337-40e6-8a98-394fb2f75706" providerId="ADAL" clId="{E0C81AF8-C4BB-47B8-869D-8FA44CD5A316}" dt="2023-11-20T02:30:34.031" v="1728" actId="478"/>
          <ac:picMkLst>
            <pc:docMk/>
            <pc:sldMk cId="3263510183" sldId="2147472307"/>
            <ac:picMk id="6" creationId="{7A2466F8-4CE3-1EAF-2DA6-348E25A7807A}"/>
          </ac:picMkLst>
        </pc:picChg>
        <pc:picChg chg="add del">
          <ac:chgData name="Charlie Black" userId="d3f783e5-d337-40e6-8a98-394fb2f75706" providerId="ADAL" clId="{E0C81AF8-C4BB-47B8-869D-8FA44CD5A316}" dt="2023-11-20T02:30:39.165" v="1730" actId="22"/>
          <ac:picMkLst>
            <pc:docMk/>
            <pc:sldMk cId="3263510183" sldId="2147472307"/>
            <ac:picMk id="10" creationId="{76EEB5E9-A230-A4D0-F226-DC95D962DE1B}"/>
          </ac:picMkLst>
        </pc:picChg>
        <pc:picChg chg="add mod ord">
          <ac:chgData name="Charlie Black" userId="d3f783e5-d337-40e6-8a98-394fb2f75706" providerId="ADAL" clId="{E0C81AF8-C4BB-47B8-869D-8FA44CD5A316}" dt="2023-11-20T02:35:31.893" v="1860" actId="1076"/>
          <ac:picMkLst>
            <pc:docMk/>
            <pc:sldMk cId="3263510183" sldId="2147472307"/>
            <ac:picMk id="12" creationId="{0AC710AA-BDCC-790A-D492-E93DED281F73}"/>
          </ac:picMkLst>
        </pc:picChg>
      </pc:sldChg>
      <pc:sldChg chg="addSp delSp modSp new del mod">
        <pc:chgData name="Charlie Black" userId="d3f783e5-d337-40e6-8a98-394fb2f75706" providerId="ADAL" clId="{E0C81AF8-C4BB-47B8-869D-8FA44CD5A316}" dt="2023-11-20T02:20:00.808" v="1478" actId="47"/>
        <pc:sldMkLst>
          <pc:docMk/>
          <pc:sldMk cId="3471123170" sldId="2147472308"/>
        </pc:sldMkLst>
        <pc:spChg chg="mod">
          <ac:chgData name="Charlie Black" userId="d3f783e5-d337-40e6-8a98-394fb2f75706" providerId="ADAL" clId="{E0C81AF8-C4BB-47B8-869D-8FA44CD5A316}" dt="2023-11-20T01:40:56.659" v="996" actId="20577"/>
          <ac:spMkLst>
            <pc:docMk/>
            <pc:sldMk cId="3471123170" sldId="2147472308"/>
            <ac:spMk id="2" creationId="{66430898-D1CC-DAEC-4ED7-08D9FB41D048}"/>
          </ac:spMkLst>
        </pc:spChg>
        <pc:spChg chg="del">
          <ac:chgData name="Charlie Black" userId="d3f783e5-d337-40e6-8a98-394fb2f75706" providerId="ADAL" clId="{E0C81AF8-C4BB-47B8-869D-8FA44CD5A316}" dt="2023-11-20T01:42:42.968" v="997" actId="22"/>
          <ac:spMkLst>
            <pc:docMk/>
            <pc:sldMk cId="3471123170" sldId="2147472308"/>
            <ac:spMk id="4" creationId="{E819F59C-F79D-B209-0FF3-2CA7462A0EF7}"/>
          </ac:spMkLst>
        </pc:spChg>
        <pc:spChg chg="add del mod">
          <ac:chgData name="Charlie Black" userId="d3f783e5-d337-40e6-8a98-394fb2f75706" providerId="ADAL" clId="{E0C81AF8-C4BB-47B8-869D-8FA44CD5A316}" dt="2023-11-20T01:44:47.133" v="1000" actId="22"/>
          <ac:spMkLst>
            <pc:docMk/>
            <pc:sldMk cId="3471123170" sldId="2147472308"/>
            <ac:spMk id="8" creationId="{ED452EF6-1C78-6461-F46C-3FC8A99F6E30}"/>
          </ac:spMkLst>
        </pc:spChg>
        <pc:picChg chg="add del mod ord">
          <ac:chgData name="Charlie Black" userId="d3f783e5-d337-40e6-8a98-394fb2f75706" providerId="ADAL" clId="{E0C81AF8-C4BB-47B8-869D-8FA44CD5A316}" dt="2023-11-20T01:43:54.488" v="999" actId="478"/>
          <ac:picMkLst>
            <pc:docMk/>
            <pc:sldMk cId="3471123170" sldId="2147472308"/>
            <ac:picMk id="6" creationId="{6553372B-80AD-F28C-0E31-EDCA428EDF83}"/>
          </ac:picMkLst>
        </pc:picChg>
        <pc:picChg chg="add mod ord">
          <ac:chgData name="Charlie Black" userId="d3f783e5-d337-40e6-8a98-394fb2f75706" providerId="ADAL" clId="{E0C81AF8-C4BB-47B8-869D-8FA44CD5A316}" dt="2023-11-20T01:44:47.133" v="1000" actId="22"/>
          <ac:picMkLst>
            <pc:docMk/>
            <pc:sldMk cId="3471123170" sldId="2147472308"/>
            <ac:picMk id="10" creationId="{667E6F96-96FD-8FC8-E187-147332DD6775}"/>
          </ac:picMkLst>
        </pc:picChg>
      </pc:sldChg>
      <pc:sldChg chg="addSp delSp modSp new mod setBg">
        <pc:chgData name="Charlie Black" userId="d3f783e5-d337-40e6-8a98-394fb2f75706" providerId="ADAL" clId="{E0C81AF8-C4BB-47B8-869D-8FA44CD5A316}" dt="2023-11-21T05:06:24.505" v="2378" actId="14100"/>
        <pc:sldMkLst>
          <pc:docMk/>
          <pc:sldMk cId="1081773285" sldId="2147472309"/>
        </pc:sldMkLst>
        <pc:spChg chg="mod">
          <ac:chgData name="Charlie Black" userId="d3f783e5-d337-40e6-8a98-394fb2f75706" providerId="ADAL" clId="{E0C81AF8-C4BB-47B8-869D-8FA44CD5A316}" dt="2023-11-20T02:26:04.738" v="1682"/>
          <ac:spMkLst>
            <pc:docMk/>
            <pc:sldMk cId="1081773285" sldId="2147472309"/>
            <ac:spMk id="2" creationId="{BC3080F5-2B9A-DF91-ED7F-A8319CEF9E11}"/>
          </ac:spMkLst>
        </pc:spChg>
        <pc:spChg chg="mod">
          <ac:chgData name="Charlie Black" userId="d3f783e5-d337-40e6-8a98-394fb2f75706" providerId="ADAL" clId="{E0C81AF8-C4BB-47B8-869D-8FA44CD5A316}" dt="2023-11-20T03:22:45.700" v="2065" actId="20577"/>
          <ac:spMkLst>
            <pc:docMk/>
            <pc:sldMk cId="1081773285" sldId="2147472309"/>
            <ac:spMk id="3" creationId="{E1A5860F-8F53-732B-0392-4B3AFD206384}"/>
          </ac:spMkLst>
        </pc:spChg>
        <pc:spChg chg="del">
          <ac:chgData name="Charlie Black" userId="d3f783e5-d337-40e6-8a98-394fb2f75706" providerId="ADAL" clId="{E0C81AF8-C4BB-47B8-869D-8FA44CD5A316}" dt="2023-11-20T01:45:27.045" v="1001" actId="22"/>
          <ac:spMkLst>
            <pc:docMk/>
            <pc:sldMk cId="1081773285" sldId="2147472309"/>
            <ac:spMk id="4" creationId="{D5CD4823-A451-6F03-6436-EF453712F2B3}"/>
          </ac:spMkLst>
        </pc:spChg>
        <pc:spChg chg="add mod">
          <ac:chgData name="Charlie Black" userId="d3f783e5-d337-40e6-8a98-394fb2f75706" providerId="ADAL" clId="{E0C81AF8-C4BB-47B8-869D-8FA44CD5A316}" dt="2023-11-20T02:23:25.648" v="1598" actId="14861"/>
          <ac:spMkLst>
            <pc:docMk/>
            <pc:sldMk cId="1081773285" sldId="2147472309"/>
            <ac:spMk id="8" creationId="{A5BB077E-91D0-1E80-D7D9-8385C37C5AB3}"/>
          </ac:spMkLst>
        </pc:spChg>
        <pc:spChg chg="add del mod">
          <ac:chgData name="Charlie Black" userId="d3f783e5-d337-40e6-8a98-394fb2f75706" providerId="ADAL" clId="{E0C81AF8-C4BB-47B8-869D-8FA44CD5A316}" dt="2023-11-20T02:42:36.911" v="1974" actId="478"/>
          <ac:spMkLst>
            <pc:docMk/>
            <pc:sldMk cId="1081773285" sldId="2147472309"/>
            <ac:spMk id="9" creationId="{4534FF37-A234-86FC-6BB2-01192DAA98F8}"/>
          </ac:spMkLst>
        </pc:spChg>
        <pc:picChg chg="add mod ord">
          <ac:chgData name="Charlie Black" userId="d3f783e5-d337-40e6-8a98-394fb2f75706" providerId="ADAL" clId="{E0C81AF8-C4BB-47B8-869D-8FA44CD5A316}" dt="2023-11-20T02:23:43.949" v="1601" actId="1076"/>
          <ac:picMkLst>
            <pc:docMk/>
            <pc:sldMk cId="1081773285" sldId="2147472309"/>
            <ac:picMk id="6" creationId="{BAE7C0DC-D2BD-F712-CFA9-E97D06CE9BE5}"/>
          </ac:picMkLst>
        </pc:picChg>
        <pc:picChg chg="add mod modCrop">
          <ac:chgData name="Charlie Black" userId="d3f783e5-d337-40e6-8a98-394fb2f75706" providerId="ADAL" clId="{E0C81AF8-C4BB-47B8-869D-8FA44CD5A316}" dt="2023-11-21T05:06:24.505" v="2378" actId="14100"/>
          <ac:picMkLst>
            <pc:docMk/>
            <pc:sldMk cId="1081773285" sldId="2147472309"/>
            <ac:picMk id="7" creationId="{9BC5A4A3-7EEB-ADD9-66A5-A79B92541A0C}"/>
          </ac:picMkLst>
        </pc:picChg>
        <pc:picChg chg="add del mod">
          <ac:chgData name="Charlie Black" userId="d3f783e5-d337-40e6-8a98-394fb2f75706" providerId="ADAL" clId="{E0C81AF8-C4BB-47B8-869D-8FA44CD5A316}" dt="2023-11-20T02:42:55.277" v="1979" actId="478"/>
          <ac:picMkLst>
            <pc:docMk/>
            <pc:sldMk cId="1081773285" sldId="2147472309"/>
            <ac:picMk id="11" creationId="{C22EEE3C-C4A2-B4C8-2EC6-BEF51C2FBD6A}"/>
          </ac:picMkLst>
        </pc:picChg>
        <pc:picChg chg="add del">
          <ac:chgData name="Charlie Black" userId="d3f783e5-d337-40e6-8a98-394fb2f75706" providerId="ADAL" clId="{E0C81AF8-C4BB-47B8-869D-8FA44CD5A316}" dt="2023-11-20T02:42:39.565" v="1975" actId="478"/>
          <ac:picMkLst>
            <pc:docMk/>
            <pc:sldMk cId="1081773285" sldId="2147472309"/>
            <ac:picMk id="5122" creationId="{4A0430D5-DF2F-AA7E-79FA-20040EE02306}"/>
          </ac:picMkLst>
        </pc:picChg>
        <pc:picChg chg="add mod">
          <ac:chgData name="Charlie Black" userId="d3f783e5-d337-40e6-8a98-394fb2f75706" providerId="ADAL" clId="{E0C81AF8-C4BB-47B8-869D-8FA44CD5A316}" dt="2023-11-20T03:13:07.147" v="1982" actId="1076"/>
          <ac:picMkLst>
            <pc:docMk/>
            <pc:sldMk cId="1081773285" sldId="2147472309"/>
            <ac:picMk id="5124" creationId="{077182A4-BAD0-900D-7BA5-139C2FE3B5D1}"/>
          </ac:picMkLst>
        </pc:picChg>
      </pc:sldChg>
      <pc:sldChg chg="addSp delSp modSp new mod ord">
        <pc:chgData name="Charlie Black" userId="d3f783e5-d337-40e6-8a98-394fb2f75706" providerId="ADAL" clId="{E0C81AF8-C4BB-47B8-869D-8FA44CD5A316}" dt="2023-11-20T22:38:23.675" v="2232" actId="1036"/>
        <pc:sldMkLst>
          <pc:docMk/>
          <pc:sldMk cId="2985586511" sldId="2147472310"/>
        </pc:sldMkLst>
        <pc:spChg chg="mod">
          <ac:chgData name="Charlie Black" userId="d3f783e5-d337-40e6-8a98-394fb2f75706" providerId="ADAL" clId="{E0C81AF8-C4BB-47B8-869D-8FA44CD5A316}" dt="2023-11-20T01:59:41.849" v="1037" actId="20577"/>
          <ac:spMkLst>
            <pc:docMk/>
            <pc:sldMk cId="2985586511" sldId="2147472310"/>
            <ac:spMk id="2" creationId="{F4DEC515-D002-628A-EC53-11AE09C21C1C}"/>
          </ac:spMkLst>
        </pc:spChg>
        <pc:spChg chg="mod">
          <ac:chgData name="Charlie Black" userId="d3f783e5-d337-40e6-8a98-394fb2f75706" providerId="ADAL" clId="{E0C81AF8-C4BB-47B8-869D-8FA44CD5A316}" dt="2023-11-20T02:00:19.658" v="1116" actId="20577"/>
          <ac:spMkLst>
            <pc:docMk/>
            <pc:sldMk cId="2985586511" sldId="2147472310"/>
            <ac:spMk id="3" creationId="{AB703523-DE77-68EA-AD19-FD95DEC9220C}"/>
          </ac:spMkLst>
        </pc:spChg>
        <pc:spChg chg="del">
          <ac:chgData name="Charlie Black" userId="d3f783e5-d337-40e6-8a98-394fb2f75706" providerId="ADAL" clId="{E0C81AF8-C4BB-47B8-869D-8FA44CD5A316}" dt="2023-11-20T01:58:26.524" v="1009" actId="478"/>
          <ac:spMkLst>
            <pc:docMk/>
            <pc:sldMk cId="2985586511" sldId="2147472310"/>
            <ac:spMk id="4" creationId="{567D10AC-5A4B-F2FE-A6CA-808651A14EB2}"/>
          </ac:spMkLst>
        </pc:spChg>
        <pc:spChg chg="add del">
          <ac:chgData name="Charlie Black" userId="d3f783e5-d337-40e6-8a98-394fb2f75706" providerId="ADAL" clId="{E0C81AF8-C4BB-47B8-869D-8FA44CD5A316}" dt="2023-11-20T01:58:58.468" v="1014"/>
          <ac:spMkLst>
            <pc:docMk/>
            <pc:sldMk cId="2985586511" sldId="2147472310"/>
            <ac:spMk id="20" creationId="{A3903FE1-D6BC-605C-8709-7977A4459D06}"/>
          </ac:spMkLst>
        </pc:spChg>
        <pc:spChg chg="add del">
          <ac:chgData name="Charlie Black" userId="d3f783e5-d337-40e6-8a98-394fb2f75706" providerId="ADAL" clId="{E0C81AF8-C4BB-47B8-869D-8FA44CD5A316}" dt="2023-11-20T02:02:21.083" v="1120"/>
          <ac:spMkLst>
            <pc:docMk/>
            <pc:sldMk cId="2985586511" sldId="2147472310"/>
            <ac:spMk id="25" creationId="{1317AF1D-2D01-9351-1CA0-5CBF10890D2E}"/>
          </ac:spMkLst>
        </pc:spChg>
        <pc:spChg chg="add mod">
          <ac:chgData name="Charlie Black" userId="d3f783e5-d337-40e6-8a98-394fb2f75706" providerId="ADAL" clId="{E0C81AF8-C4BB-47B8-869D-8FA44CD5A316}" dt="2023-11-20T02:36:00.019" v="1912" actId="1036"/>
          <ac:spMkLst>
            <pc:docMk/>
            <pc:sldMk cId="2985586511" sldId="2147472310"/>
            <ac:spMk id="27" creationId="{E0DBF6F9-C211-2E35-AEB5-8972180BFC1B}"/>
          </ac:spMkLst>
        </pc:spChg>
        <pc:spChg chg="add mod">
          <ac:chgData name="Charlie Black" userId="d3f783e5-d337-40e6-8a98-394fb2f75706" providerId="ADAL" clId="{E0C81AF8-C4BB-47B8-869D-8FA44CD5A316}" dt="2023-11-20T02:38:26.138" v="1919" actId="14100"/>
          <ac:spMkLst>
            <pc:docMk/>
            <pc:sldMk cId="2985586511" sldId="2147472310"/>
            <ac:spMk id="29" creationId="{5B0C4C4B-8160-5728-7C21-6892D12CAC4D}"/>
          </ac:spMkLst>
        </pc:spChg>
        <pc:spChg chg="add del">
          <ac:chgData name="Charlie Black" userId="d3f783e5-d337-40e6-8a98-394fb2f75706" providerId="ADAL" clId="{E0C81AF8-C4BB-47B8-869D-8FA44CD5A316}" dt="2023-11-20T02:28:41.557" v="1715"/>
          <ac:spMkLst>
            <pc:docMk/>
            <pc:sldMk cId="2985586511" sldId="2147472310"/>
            <ac:spMk id="30" creationId="{AEC0C1FE-C053-3723-AF02-C875A0D75B4D}"/>
          </ac:spMkLst>
        </pc:spChg>
        <pc:spChg chg="add mod">
          <ac:chgData name="Charlie Black" userId="d3f783e5-d337-40e6-8a98-394fb2f75706" providerId="ADAL" clId="{E0C81AF8-C4BB-47B8-869D-8FA44CD5A316}" dt="2023-11-20T02:36:00.019" v="1912" actId="1036"/>
          <ac:spMkLst>
            <pc:docMk/>
            <pc:sldMk cId="2985586511" sldId="2147472310"/>
            <ac:spMk id="31" creationId="{AF432066-A558-E433-05F5-20679303DB71}"/>
          </ac:spMkLst>
        </pc:spChg>
        <pc:spChg chg="add del">
          <ac:chgData name="Charlie Black" userId="d3f783e5-d337-40e6-8a98-394fb2f75706" providerId="ADAL" clId="{E0C81AF8-C4BB-47B8-869D-8FA44CD5A316}" dt="2023-11-20T02:28:52.222" v="1718"/>
          <ac:spMkLst>
            <pc:docMk/>
            <pc:sldMk cId="2985586511" sldId="2147472310"/>
            <ac:spMk id="32" creationId="{9A27CD4E-5C94-4D11-7527-4ACD67A1D28D}"/>
          </ac:spMkLst>
        </pc:spChg>
        <pc:spChg chg="add mod">
          <ac:chgData name="Charlie Black" userId="d3f783e5-d337-40e6-8a98-394fb2f75706" providerId="ADAL" clId="{E0C81AF8-C4BB-47B8-869D-8FA44CD5A316}" dt="2023-11-20T02:29:01.659" v="1721" actId="21"/>
          <ac:spMkLst>
            <pc:docMk/>
            <pc:sldMk cId="2985586511" sldId="2147472310"/>
            <ac:spMk id="33" creationId="{8560168B-4864-8EA7-670D-3DAE0E2F15A8}"/>
          </ac:spMkLst>
        </pc:spChg>
        <pc:spChg chg="add mod">
          <ac:chgData name="Charlie Black" userId="d3f783e5-d337-40e6-8a98-394fb2f75706" providerId="ADAL" clId="{E0C81AF8-C4BB-47B8-869D-8FA44CD5A316}" dt="2023-11-20T03:35:15.332" v="2181" actId="14100"/>
          <ac:spMkLst>
            <pc:docMk/>
            <pc:sldMk cId="2985586511" sldId="2147472310"/>
            <ac:spMk id="38" creationId="{F670BB20-560C-72E7-BC08-D69DC5C9A4A4}"/>
          </ac:spMkLst>
        </pc:spChg>
        <pc:picChg chg="add del mod">
          <ac:chgData name="Charlie Black" userId="d3f783e5-d337-40e6-8a98-394fb2f75706" providerId="ADAL" clId="{E0C81AF8-C4BB-47B8-869D-8FA44CD5A316}" dt="2023-11-20T01:47:49.709" v="1004"/>
          <ac:picMkLst>
            <pc:docMk/>
            <pc:sldMk cId="2985586511" sldId="2147472310"/>
            <ac:picMk id="5" creationId="{C340E606-88D5-BF44-4A47-231F640E8FBA}"/>
          </ac:picMkLst>
        </pc:picChg>
        <pc:picChg chg="add del mod">
          <ac:chgData name="Charlie Black" userId="d3f783e5-d337-40e6-8a98-394fb2f75706" providerId="ADAL" clId="{E0C81AF8-C4BB-47B8-869D-8FA44CD5A316}" dt="2023-11-20T01:47:49.709" v="1004"/>
          <ac:picMkLst>
            <pc:docMk/>
            <pc:sldMk cId="2985586511" sldId="2147472310"/>
            <ac:picMk id="6" creationId="{CE6AD85A-67DB-FE2D-4787-8094C5AC1262}"/>
          </ac:picMkLst>
        </pc:picChg>
        <pc:picChg chg="add del mod">
          <ac:chgData name="Charlie Black" userId="d3f783e5-d337-40e6-8a98-394fb2f75706" providerId="ADAL" clId="{E0C81AF8-C4BB-47B8-869D-8FA44CD5A316}" dt="2023-11-20T01:47:49.709" v="1004"/>
          <ac:picMkLst>
            <pc:docMk/>
            <pc:sldMk cId="2985586511" sldId="2147472310"/>
            <ac:picMk id="7" creationId="{E4E6EDF9-408F-F095-1ADA-46D5745ACD89}"/>
          </ac:picMkLst>
        </pc:picChg>
        <pc:picChg chg="add del mod">
          <ac:chgData name="Charlie Black" userId="d3f783e5-d337-40e6-8a98-394fb2f75706" providerId="ADAL" clId="{E0C81AF8-C4BB-47B8-869D-8FA44CD5A316}" dt="2023-11-20T01:58:22.731" v="1008"/>
          <ac:picMkLst>
            <pc:docMk/>
            <pc:sldMk cId="2985586511" sldId="2147472310"/>
            <ac:picMk id="10" creationId="{A8710C27-A666-A145-8EC4-AA81A60E9C7A}"/>
          </ac:picMkLst>
        </pc:picChg>
        <pc:picChg chg="add del mod">
          <ac:chgData name="Charlie Black" userId="d3f783e5-d337-40e6-8a98-394fb2f75706" providerId="ADAL" clId="{E0C81AF8-C4BB-47B8-869D-8FA44CD5A316}" dt="2023-11-20T01:58:22.731" v="1008"/>
          <ac:picMkLst>
            <pc:docMk/>
            <pc:sldMk cId="2985586511" sldId="2147472310"/>
            <ac:picMk id="11" creationId="{1923A61E-7AE9-69EC-6812-CC59886EF45D}"/>
          </ac:picMkLst>
        </pc:picChg>
        <pc:picChg chg="add del mod">
          <ac:chgData name="Charlie Black" userId="d3f783e5-d337-40e6-8a98-394fb2f75706" providerId="ADAL" clId="{E0C81AF8-C4BB-47B8-869D-8FA44CD5A316}" dt="2023-11-20T01:58:22.731" v="1008"/>
          <ac:picMkLst>
            <pc:docMk/>
            <pc:sldMk cId="2985586511" sldId="2147472310"/>
            <ac:picMk id="12" creationId="{8698FE67-B552-BD4C-B8E0-0F7D387A3B59}"/>
          </ac:picMkLst>
        </pc:picChg>
        <pc:picChg chg="add mod">
          <ac:chgData name="Charlie Black" userId="d3f783e5-d337-40e6-8a98-394fb2f75706" providerId="ADAL" clId="{E0C81AF8-C4BB-47B8-869D-8FA44CD5A316}" dt="2023-11-20T02:36:00.019" v="1912" actId="1036"/>
          <ac:picMkLst>
            <pc:docMk/>
            <pc:sldMk cId="2985586511" sldId="2147472310"/>
            <ac:picMk id="15" creationId="{9B0C7776-2B99-78D2-A6B5-CA1C401A8A1C}"/>
          </ac:picMkLst>
        </pc:picChg>
        <pc:picChg chg="add mod">
          <ac:chgData name="Charlie Black" userId="d3f783e5-d337-40e6-8a98-394fb2f75706" providerId="ADAL" clId="{E0C81AF8-C4BB-47B8-869D-8FA44CD5A316}" dt="2023-11-20T02:36:00.019" v="1912" actId="1036"/>
          <ac:picMkLst>
            <pc:docMk/>
            <pc:sldMk cId="2985586511" sldId="2147472310"/>
            <ac:picMk id="16" creationId="{78C1162B-BF4F-EADD-6C33-320F5954810E}"/>
          </ac:picMkLst>
        </pc:picChg>
        <pc:picChg chg="add del mod">
          <ac:chgData name="Charlie Black" userId="d3f783e5-d337-40e6-8a98-394fb2f75706" providerId="ADAL" clId="{E0C81AF8-C4BB-47B8-869D-8FA44CD5A316}" dt="2023-11-20T01:58:39.868" v="1012" actId="478"/>
          <ac:picMkLst>
            <pc:docMk/>
            <pc:sldMk cId="2985586511" sldId="2147472310"/>
            <ac:picMk id="17" creationId="{103C8CED-0484-CEE6-87CD-C4E4F407D3AE}"/>
          </ac:picMkLst>
        </pc:picChg>
        <pc:picChg chg="add mod">
          <ac:chgData name="Charlie Black" userId="d3f783e5-d337-40e6-8a98-394fb2f75706" providerId="ADAL" clId="{E0C81AF8-C4BB-47B8-869D-8FA44CD5A316}" dt="2023-11-20T02:36:00.019" v="1912" actId="1036"/>
          <ac:picMkLst>
            <pc:docMk/>
            <pc:sldMk cId="2985586511" sldId="2147472310"/>
            <ac:picMk id="22" creationId="{754C1A2C-29D7-38B2-F278-38CD9951E041}"/>
          </ac:picMkLst>
        </pc:picChg>
        <pc:picChg chg="add del">
          <ac:chgData name="Charlie Black" userId="d3f783e5-d337-40e6-8a98-394fb2f75706" providerId="ADAL" clId="{E0C81AF8-C4BB-47B8-869D-8FA44CD5A316}" dt="2023-11-20T02:01:32.100" v="1118" actId="478"/>
          <ac:picMkLst>
            <pc:docMk/>
            <pc:sldMk cId="2985586511" sldId="2147472310"/>
            <ac:picMk id="24" creationId="{2B7CE5C8-C93F-3CDB-431A-5F18C37F8299}"/>
          </ac:picMkLst>
        </pc:picChg>
        <pc:picChg chg="add mod modCrop">
          <ac:chgData name="Charlie Black" userId="d3f783e5-d337-40e6-8a98-394fb2f75706" providerId="ADAL" clId="{E0C81AF8-C4BB-47B8-869D-8FA44CD5A316}" dt="2023-11-20T22:38:23.675" v="2232" actId="1036"/>
          <ac:picMkLst>
            <pc:docMk/>
            <pc:sldMk cId="2985586511" sldId="2147472310"/>
            <ac:picMk id="35" creationId="{5080A3DC-8F9C-9184-5AD3-F7BBDDB45BD8}"/>
          </ac:picMkLst>
        </pc:picChg>
        <pc:cxnChg chg="add del mod">
          <ac:chgData name="Charlie Black" userId="d3f783e5-d337-40e6-8a98-394fb2f75706" providerId="ADAL" clId="{E0C81AF8-C4BB-47B8-869D-8FA44CD5A316}" dt="2023-11-20T01:47:49.709" v="1004"/>
          <ac:cxnSpMkLst>
            <pc:docMk/>
            <pc:sldMk cId="2985586511" sldId="2147472310"/>
            <ac:cxnSpMk id="8" creationId="{61A824B2-A27F-5CDE-9EFD-E136D9DA3102}"/>
          </ac:cxnSpMkLst>
        </pc:cxnChg>
        <pc:cxnChg chg="add del mod">
          <ac:chgData name="Charlie Black" userId="d3f783e5-d337-40e6-8a98-394fb2f75706" providerId="ADAL" clId="{E0C81AF8-C4BB-47B8-869D-8FA44CD5A316}" dt="2023-11-20T01:47:49.709" v="1004"/>
          <ac:cxnSpMkLst>
            <pc:docMk/>
            <pc:sldMk cId="2985586511" sldId="2147472310"/>
            <ac:cxnSpMk id="9" creationId="{E70B38F8-0385-334C-957E-F36B56AE3017}"/>
          </ac:cxnSpMkLst>
        </pc:cxnChg>
        <pc:cxnChg chg="add del mod">
          <ac:chgData name="Charlie Black" userId="d3f783e5-d337-40e6-8a98-394fb2f75706" providerId="ADAL" clId="{E0C81AF8-C4BB-47B8-869D-8FA44CD5A316}" dt="2023-11-20T01:58:22.731" v="1008"/>
          <ac:cxnSpMkLst>
            <pc:docMk/>
            <pc:sldMk cId="2985586511" sldId="2147472310"/>
            <ac:cxnSpMk id="13" creationId="{DE916D22-9682-31F3-A968-3190E475E1A5}"/>
          </ac:cxnSpMkLst>
        </pc:cxnChg>
        <pc:cxnChg chg="add del mod">
          <ac:chgData name="Charlie Black" userId="d3f783e5-d337-40e6-8a98-394fb2f75706" providerId="ADAL" clId="{E0C81AF8-C4BB-47B8-869D-8FA44CD5A316}" dt="2023-11-20T01:58:22.731" v="1008"/>
          <ac:cxnSpMkLst>
            <pc:docMk/>
            <pc:sldMk cId="2985586511" sldId="2147472310"/>
            <ac:cxnSpMk id="14" creationId="{446B7D5A-31D9-4495-D082-E41215B1D690}"/>
          </ac:cxnSpMkLst>
        </pc:cxnChg>
        <pc:cxnChg chg="add mod">
          <ac:chgData name="Charlie Black" userId="d3f783e5-d337-40e6-8a98-394fb2f75706" providerId="ADAL" clId="{E0C81AF8-C4BB-47B8-869D-8FA44CD5A316}" dt="2023-11-20T02:36:00.019" v="1912" actId="1036"/>
          <ac:cxnSpMkLst>
            <pc:docMk/>
            <pc:sldMk cId="2985586511" sldId="2147472310"/>
            <ac:cxnSpMk id="18" creationId="{B1A2ED7A-E54C-0CB9-95B4-17272AAE6FC7}"/>
          </ac:cxnSpMkLst>
        </pc:cxnChg>
        <pc:cxnChg chg="add mod">
          <ac:chgData name="Charlie Black" userId="d3f783e5-d337-40e6-8a98-394fb2f75706" providerId="ADAL" clId="{E0C81AF8-C4BB-47B8-869D-8FA44CD5A316}" dt="2023-11-20T02:36:00.019" v="1912" actId="1036"/>
          <ac:cxnSpMkLst>
            <pc:docMk/>
            <pc:sldMk cId="2985586511" sldId="2147472310"/>
            <ac:cxnSpMk id="19" creationId="{E8DB1516-7B09-A1C3-18F1-90BEF8431AB3}"/>
          </ac:cxnSpMkLst>
        </pc:cxnChg>
        <pc:cxnChg chg="add mod">
          <ac:chgData name="Charlie Black" userId="d3f783e5-d337-40e6-8a98-394fb2f75706" providerId="ADAL" clId="{E0C81AF8-C4BB-47B8-869D-8FA44CD5A316}" dt="2023-11-20T02:39:20.681" v="1931" actId="14100"/>
          <ac:cxnSpMkLst>
            <pc:docMk/>
            <pc:sldMk cId="2985586511" sldId="2147472310"/>
            <ac:cxnSpMk id="36" creationId="{8EDB9E5A-6EA1-E606-A099-05517825FF6D}"/>
          </ac:cxnSpMkLst>
        </pc:cxnChg>
      </pc:sldChg>
      <pc:sldChg chg="addSp modSp add mod">
        <pc:chgData name="Charlie Black" userId="d3f783e5-d337-40e6-8a98-394fb2f75706" providerId="ADAL" clId="{E0C81AF8-C4BB-47B8-869D-8FA44CD5A316}" dt="2023-11-21T05:06:35.283" v="2380" actId="14100"/>
        <pc:sldMkLst>
          <pc:docMk/>
          <pc:sldMk cId="383283339" sldId="2147472311"/>
        </pc:sldMkLst>
        <pc:spChg chg="mod">
          <ac:chgData name="Charlie Black" userId="d3f783e5-d337-40e6-8a98-394fb2f75706" providerId="ADAL" clId="{E0C81AF8-C4BB-47B8-869D-8FA44CD5A316}" dt="2023-11-20T03:22:36.123" v="2056" actId="20577"/>
          <ac:spMkLst>
            <pc:docMk/>
            <pc:sldMk cId="383283339" sldId="2147472311"/>
            <ac:spMk id="3" creationId="{611E5FC0-A042-0AB2-A4F0-2CA265BF4656}"/>
          </ac:spMkLst>
        </pc:spChg>
        <pc:picChg chg="add mod modCrop">
          <ac:chgData name="Charlie Black" userId="d3f783e5-d337-40e6-8a98-394fb2f75706" providerId="ADAL" clId="{E0C81AF8-C4BB-47B8-869D-8FA44CD5A316}" dt="2023-11-21T05:06:35.283" v="2380" actId="14100"/>
          <ac:picMkLst>
            <pc:docMk/>
            <pc:sldMk cId="383283339" sldId="2147472311"/>
            <ac:picMk id="4" creationId="{EEB8D0D8-AFC8-5AF1-DA81-0358D2EEDF13}"/>
          </ac:picMkLst>
        </pc:picChg>
      </pc:sldChg>
      <pc:sldChg chg="addSp delSp modSp new mod">
        <pc:chgData name="Charlie Black" userId="d3f783e5-d337-40e6-8a98-394fb2f75706" providerId="ADAL" clId="{E0C81AF8-C4BB-47B8-869D-8FA44CD5A316}" dt="2023-11-21T05:08:26.375" v="2384" actId="20577"/>
        <pc:sldMkLst>
          <pc:docMk/>
          <pc:sldMk cId="304252741" sldId="2147472312"/>
        </pc:sldMkLst>
        <pc:spChg chg="mod">
          <ac:chgData name="Charlie Black" userId="d3f783e5-d337-40e6-8a98-394fb2f75706" providerId="ADAL" clId="{E0C81AF8-C4BB-47B8-869D-8FA44CD5A316}" dt="2023-11-20T03:19:48.524" v="1999" actId="20577"/>
          <ac:spMkLst>
            <pc:docMk/>
            <pc:sldMk cId="304252741" sldId="2147472312"/>
            <ac:spMk id="2" creationId="{AC8F6036-26F8-8796-90FB-073FDDEC47F4}"/>
          </ac:spMkLst>
        </pc:spChg>
        <pc:spChg chg="mod">
          <ac:chgData name="Charlie Black" userId="d3f783e5-d337-40e6-8a98-394fb2f75706" providerId="ADAL" clId="{E0C81AF8-C4BB-47B8-869D-8FA44CD5A316}" dt="2023-11-21T00:23:06.845" v="2276" actId="20577"/>
          <ac:spMkLst>
            <pc:docMk/>
            <pc:sldMk cId="304252741" sldId="2147472312"/>
            <ac:spMk id="3" creationId="{CA072E50-B53A-2EDD-6DD8-B1F3A2635AB3}"/>
          </ac:spMkLst>
        </pc:spChg>
        <pc:spChg chg="mod">
          <ac:chgData name="Charlie Black" userId="d3f783e5-d337-40e6-8a98-394fb2f75706" providerId="ADAL" clId="{E0C81AF8-C4BB-47B8-869D-8FA44CD5A316}" dt="2023-11-21T05:08:26.375" v="2384" actId="20577"/>
          <ac:spMkLst>
            <pc:docMk/>
            <pc:sldMk cId="304252741" sldId="2147472312"/>
            <ac:spMk id="4" creationId="{A6AF96B8-0EA0-B39D-192D-78E5138D4BD1}"/>
          </ac:spMkLst>
        </pc:spChg>
        <pc:picChg chg="add mod">
          <ac:chgData name="Charlie Black" userId="d3f783e5-d337-40e6-8a98-394fb2f75706" providerId="ADAL" clId="{E0C81AF8-C4BB-47B8-869D-8FA44CD5A316}" dt="2023-11-21T05:07:56.411" v="2382" actId="1076"/>
          <ac:picMkLst>
            <pc:docMk/>
            <pc:sldMk cId="304252741" sldId="2147472312"/>
            <ac:picMk id="6" creationId="{C1F0F15D-CCD6-AD1E-1A71-D8AD379D89B4}"/>
          </ac:picMkLst>
        </pc:picChg>
        <pc:picChg chg="add del">
          <ac:chgData name="Charlie Black" userId="d3f783e5-d337-40e6-8a98-394fb2f75706" providerId="ADAL" clId="{E0C81AF8-C4BB-47B8-869D-8FA44CD5A316}" dt="2023-11-20T03:19:53.422" v="2001"/>
          <ac:picMkLst>
            <pc:docMk/>
            <pc:sldMk cId="304252741" sldId="2147472312"/>
            <ac:picMk id="6146" creationId="{B09E974B-842E-29A8-4F28-26B771FF717E}"/>
          </ac:picMkLst>
        </pc:picChg>
      </pc:sldChg>
      <pc:sldChg chg="add del">
        <pc:chgData name="Charlie Black" userId="d3f783e5-d337-40e6-8a98-394fb2f75706" providerId="ADAL" clId="{E0C81AF8-C4BB-47B8-869D-8FA44CD5A316}" dt="2023-11-20T02:17:26.938" v="1232" actId="2890"/>
        <pc:sldMkLst>
          <pc:docMk/>
          <pc:sldMk cId="829314468" sldId="2147472312"/>
        </pc:sldMkLst>
      </pc:sldChg>
      <pc:sldChg chg="modSp add mod">
        <pc:chgData name="Charlie Black" userId="d3f783e5-d337-40e6-8a98-394fb2f75706" providerId="ADAL" clId="{E0C81AF8-C4BB-47B8-869D-8FA44CD5A316}" dt="2023-11-21T00:22:23.294" v="2269" actId="20577"/>
        <pc:sldMkLst>
          <pc:docMk/>
          <pc:sldMk cId="956321914" sldId="2147472313"/>
        </pc:sldMkLst>
        <pc:spChg chg="mod">
          <ac:chgData name="Charlie Black" userId="d3f783e5-d337-40e6-8a98-394fb2f75706" providerId="ADAL" clId="{E0C81AF8-C4BB-47B8-869D-8FA44CD5A316}" dt="2023-11-21T00:22:23.294" v="2269" actId="20577"/>
          <ac:spMkLst>
            <pc:docMk/>
            <pc:sldMk cId="956321914" sldId="2147472313"/>
            <ac:spMk id="2" creationId="{A8B24A7B-718B-F414-7B81-2F895CEEFC51}"/>
          </ac:spMkLst>
        </pc:spChg>
      </pc:sldChg>
      <pc:sldChg chg="add del">
        <pc:chgData name="Charlie Black" userId="d3f783e5-d337-40e6-8a98-394fb2f75706" providerId="ADAL" clId="{E0C81AF8-C4BB-47B8-869D-8FA44CD5A316}" dt="2023-11-21T00:25:46.198" v="2364" actId="2696"/>
        <pc:sldMkLst>
          <pc:docMk/>
          <pc:sldMk cId="1040167108" sldId="214747231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>
                <a:latin typeface="Arial" panose="020B0604020202020204" pitchFamily="34" charset="0"/>
              </a:rPr>
              <a:t>11/20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CB6F0DB-E055-41D0-9102-627A646E4242}" type="datetimeFigureOut">
              <a:rPr lang="en-US" smtClean="0"/>
              <a:pPr/>
              <a:t>11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F4FBC3A-A12C-40F9-BB8D-BC30C790139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trike="noStrike" baseline="0"/>
              <a:t>Click to add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933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544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ocs.spring.io/spring-framework/docs/current/javadoc-api/org/springframework/cache/annotation/package-summary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679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731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129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260" y="4343714"/>
            <a:ext cx="5031482" cy="4112298"/>
          </a:xfrm>
          <a:noFill/>
          <a:ln/>
        </p:spPr>
        <p:txBody>
          <a:bodyPr/>
          <a:lstStyle/>
          <a:p>
            <a:endParaRPr lang="en-US"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260" y="4343714"/>
            <a:ext cx="5031482" cy="4112298"/>
          </a:xfrm>
          <a:noFill/>
          <a:ln/>
        </p:spPr>
        <p:txBody>
          <a:bodyPr/>
          <a:lstStyle/>
          <a:p>
            <a:endParaRPr lang="en-US" sz="900"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ell story on o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03ECF5-86F6-2146-AC20-F4526935134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6309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12" y="4343714"/>
            <a:ext cx="5485778" cy="4113863"/>
          </a:xfrm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endParaRPr lang="en-US" sz="1000"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6875" y="692150"/>
            <a:ext cx="6072188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63" name="Rectangle 3"/>
          <p:cNvSpPr>
            <a:spLocks noGrp="1"/>
          </p:cNvSpPr>
          <p:nvPr>
            <p:ph type="body" idx="1"/>
          </p:nvPr>
        </p:nvSpPr>
        <p:spPr bwMode="auto">
          <a:xfrm>
            <a:off x="908051" y="4333875"/>
            <a:ext cx="5033963" cy="41132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260" y="4343714"/>
            <a:ext cx="5031482" cy="4112298"/>
          </a:xfrm>
          <a:noFill/>
          <a:ln/>
        </p:spPr>
        <p:txBody>
          <a:bodyPr/>
          <a:lstStyle/>
          <a:p>
            <a:endParaRPr lang="en-US">
              <a:ea typeface="ＭＳ Ｐゴシック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click to edit"/>
          <p:cNvSpPr>
            <a:spLocks noGrp="1"/>
          </p:cNvSpPr>
          <p:nvPr>
            <p:ph type="title" hasCustomPrompt="1"/>
          </p:nvPr>
        </p:nvSpPr>
        <p:spPr>
          <a:xfrm>
            <a:off x="6592949" y="1582578"/>
            <a:ext cx="5102866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/>
              <a:t>Title Slide - Leaf and Ocean Color Theme</a:t>
            </a:r>
          </a:p>
        </p:txBody>
      </p:sp>
      <p:sp>
        <p:nvSpPr>
          <p:cNvPr id="128" name="Subtitle click to edit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7" name="Click to edit Speaker Name 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5402202" cy="35560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 lang="en-US" sz="1600" b="0" i="0" u="none" strike="noStrike" smtClean="0"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peaker Name (Insert pronouns)</a:t>
            </a:r>
          </a:p>
        </p:txBody>
      </p:sp>
      <p:sp>
        <p:nvSpPr>
          <p:cNvPr id="129" name="Click to edit role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17480"/>
            <a:ext cx="5402202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8" name="Click to edit role">
            <a:extLst>
              <a:ext uri="{FF2B5EF4-FFF2-40B4-BE49-F238E27FC236}">
                <a16:creationId xmlns:a16="http://schemas.microsoft.com/office/drawing/2014/main" id="{006FF8D0-7AF6-C549-9BFB-E838D6CDCA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2948" y="5485986"/>
            <a:ext cx="5402202" cy="355601"/>
          </a:xfrm>
        </p:spPr>
        <p:txBody>
          <a:bodyPr/>
          <a:lstStyle>
            <a:lvl1pPr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5" name="parallelogram graphics">
            <a:extLst>
              <a:ext uri="{FF2B5EF4-FFF2-40B4-BE49-F238E27FC236}">
                <a16:creationId xmlns:a16="http://schemas.microsoft.com/office/drawing/2014/main" id="{9FD6412E-4CA0-D249-939D-85D976E51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88217" y="1084671"/>
            <a:ext cx="9623529" cy="5494609"/>
            <a:chOff x="-1488217" y="1084671"/>
            <a:chExt cx="9623529" cy="5494609"/>
          </a:xfrm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FC6E33BE-E922-E74A-8DF9-693000E673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2061554" y="1519285"/>
              <a:ext cx="2801109" cy="7318881"/>
            </a:xfrm>
            <a:custGeom>
              <a:avLst/>
              <a:gdLst>
                <a:gd name="connsiteX0" fmla="*/ 0 w 2801109"/>
                <a:gd name="connsiteY0" fmla="*/ 0 h 7318881"/>
                <a:gd name="connsiteX1" fmla="*/ 2801109 w 2801109"/>
                <a:gd name="connsiteY1" fmla="*/ 0 h 7318881"/>
                <a:gd name="connsiteX2" fmla="*/ 2801109 w 2801109"/>
                <a:gd name="connsiteY2" fmla="*/ 4642648 h 7318881"/>
                <a:gd name="connsiteX3" fmla="*/ 163834 w 2801109"/>
                <a:gd name="connsiteY3" fmla="*/ 7318881 h 7318881"/>
                <a:gd name="connsiteX4" fmla="*/ 0 w 2801109"/>
                <a:gd name="connsiteY4" fmla="*/ 7155046 h 731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1109" h="7318881">
                  <a:moveTo>
                    <a:pt x="0" y="0"/>
                  </a:moveTo>
                  <a:lnTo>
                    <a:pt x="2801109" y="0"/>
                  </a:lnTo>
                  <a:lnTo>
                    <a:pt x="2801109" y="4642648"/>
                  </a:lnTo>
                  <a:lnTo>
                    <a:pt x="163834" y="7318881"/>
                  </a:lnTo>
                  <a:lnTo>
                    <a:pt x="0" y="7155046"/>
                  </a:lnTo>
                  <a:close/>
                </a:path>
              </a:pathLst>
            </a:custGeom>
            <a:gradFill>
              <a:gsLst>
                <a:gs pos="25000">
                  <a:schemeClr val="bg1">
                    <a:alpha val="0"/>
                  </a:schemeClr>
                </a:gs>
                <a:gs pos="72000">
                  <a:schemeClr val="accent1"/>
                </a:gs>
              </a:gsLst>
              <a:lin ang="42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2065BB3-0DD8-1442-A077-9B671C2CD5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987453" y="-2390999"/>
              <a:ext cx="2672190" cy="9623529"/>
            </a:xfrm>
            <a:custGeom>
              <a:avLst/>
              <a:gdLst>
                <a:gd name="connsiteX0" fmla="*/ 0 w 2672190"/>
                <a:gd name="connsiteY0" fmla="*/ 2669635 h 9623529"/>
                <a:gd name="connsiteX1" fmla="*/ 2669635 w 2672190"/>
                <a:gd name="connsiteY1" fmla="*/ 0 h 9623529"/>
                <a:gd name="connsiteX2" fmla="*/ 2669635 w 2672190"/>
                <a:gd name="connsiteY2" fmla="*/ 8389488 h 9623529"/>
                <a:gd name="connsiteX3" fmla="*/ 2671345 w 2672190"/>
                <a:gd name="connsiteY3" fmla="*/ 8407448 h 9623529"/>
                <a:gd name="connsiteX4" fmla="*/ 2671258 w 2672190"/>
                <a:gd name="connsiteY4" fmla="*/ 9386208 h 9623529"/>
                <a:gd name="connsiteX5" fmla="*/ 1437129 w 2672190"/>
                <a:gd name="connsiteY5" fmla="*/ 9623529 h 9623529"/>
                <a:gd name="connsiteX6" fmla="*/ 0 w 2672190"/>
                <a:gd name="connsiteY6" fmla="*/ 8186399 h 962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2190" h="9623529">
                  <a:moveTo>
                    <a:pt x="0" y="2669635"/>
                  </a:moveTo>
                  <a:lnTo>
                    <a:pt x="2669635" y="0"/>
                  </a:lnTo>
                  <a:lnTo>
                    <a:pt x="2669635" y="8389488"/>
                  </a:lnTo>
                  <a:lnTo>
                    <a:pt x="2671345" y="8407448"/>
                  </a:lnTo>
                  <a:cubicBezTo>
                    <a:pt x="2674309" y="8739688"/>
                    <a:pt x="2668294" y="9053968"/>
                    <a:pt x="2671258" y="9386208"/>
                  </a:cubicBezTo>
                  <a:lnTo>
                    <a:pt x="1437129" y="9623529"/>
                  </a:lnTo>
                  <a:lnTo>
                    <a:pt x="0" y="8186399"/>
                  </a:lnTo>
                  <a:close/>
                </a:path>
              </a:pathLst>
            </a:custGeom>
            <a:gradFill>
              <a:gsLst>
                <a:gs pos="33000">
                  <a:schemeClr val="accent4"/>
                </a:gs>
                <a:gs pos="78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4" name="VMware logo">
            <a:extLst>
              <a:ext uri="{FF2B5EF4-FFF2-40B4-BE49-F238E27FC236}">
                <a16:creationId xmlns:a16="http://schemas.microsoft.com/office/drawing/2014/main" id="{D131BC43-C06C-5040-8CFE-30972EE1D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5185"/>
            <a:ext cx="1535550" cy="556262"/>
          </a:xfrm>
          <a:prstGeom prst="rect">
            <a:avLst/>
          </a:prstGeom>
        </p:spPr>
      </p:pic>
      <p:sp>
        <p:nvSpPr>
          <p:cNvPr id="15" name="Copyright" descr="Confidential copyright VMware, Inc. 2021">
            <a:extLst>
              <a:ext uri="{FF2B5EF4-FFF2-40B4-BE49-F238E27FC236}">
                <a16:creationId xmlns:a16="http://schemas.microsoft.com/office/drawing/2014/main" id="{858A0686-35C3-5C4B-A7C6-165B8F365E23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294770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llustration – Lea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465064DB-79E1-A641-9982-84900283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023" y="633994"/>
            <a:ext cx="726854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Title Text Slide with Leaf Color Virtual Cloud Network Illustration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86E664DE-55F4-0A4D-8BCE-06F2C2ECF7E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70881" y="1962912"/>
            <a:ext cx="6408402" cy="700882"/>
          </a:xfrm>
        </p:spPr>
        <p:txBody>
          <a:bodyPr/>
          <a:lstStyle>
            <a:lvl1pPr marL="342900" indent="-342900" algn="l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lorem ipsum sed dolor</a:t>
            </a:r>
          </a:p>
          <a:p>
            <a:r>
              <a:rPr lang="en-US"/>
              <a:t>Lorem ipsum sed dolor</a:t>
            </a:r>
          </a:p>
          <a:p>
            <a:r>
              <a:rPr lang="en-US" err="1"/>
              <a:t>Consecteteur</a:t>
            </a:r>
            <a:r>
              <a:rPr lang="en-US"/>
              <a:t> dolor sed </a:t>
            </a:r>
            <a:r>
              <a:rPr lang="en-US" err="1"/>
              <a:t>ip</a:t>
            </a:r>
            <a:endParaRPr lang="en-US"/>
          </a:p>
          <a:p>
            <a:r>
              <a:rPr lang="en-US"/>
              <a:t>Amis et ipsum dolor sed</a:t>
            </a:r>
          </a:p>
          <a:p>
            <a:r>
              <a:rPr lang="en-US"/>
              <a:t>Lorem ipsum sed dolor</a:t>
            </a:r>
          </a:p>
        </p:txBody>
      </p:sp>
      <p:grpSp>
        <p:nvGrpSpPr>
          <p:cNvPr id="3" name="Illustration">
            <a:extLst>
              <a:ext uri="{FF2B5EF4-FFF2-40B4-BE49-F238E27FC236}">
                <a16:creationId xmlns:a16="http://schemas.microsoft.com/office/drawing/2014/main" id="{907DDB93-4013-3247-A120-8096E394A2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087291" y="2647621"/>
            <a:ext cx="10235771" cy="2938624"/>
            <a:chOff x="6087291" y="2647621"/>
            <a:chExt cx="10235771" cy="2938624"/>
          </a:xfrm>
        </p:grpSpPr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816BD8A4-84A9-4840-9ECC-4E5E8EAEB1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0111119" y="-1376207"/>
              <a:ext cx="2188116" cy="10235771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33000">
                  <a:schemeClr val="accent4">
                    <a:alpha val="0"/>
                  </a:schemeClr>
                </a:gs>
                <a:gs pos="57000">
                  <a:schemeClr val="accent4">
                    <a:alpha val="70000"/>
                  </a:schemeClr>
                </a:gs>
                <a:gs pos="79000">
                  <a:schemeClr val="accent4">
                    <a:lumMod val="100000"/>
                    <a:alpha val="0"/>
                  </a:schemeClr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8">
              <a:extLst>
                <a:ext uri="{FF2B5EF4-FFF2-40B4-BE49-F238E27FC236}">
                  <a16:creationId xmlns:a16="http://schemas.microsoft.com/office/drawing/2014/main" id="{DE2C9364-4B83-C74B-A792-2D2C19FC6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1241677" y="2717800"/>
              <a:ext cx="1010391" cy="4726500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14" name="Picture 13" descr="Icon&#10;&#10;">
              <a:extLst>
                <a:ext uri="{FF2B5EF4-FFF2-40B4-BE49-F238E27FC236}">
                  <a16:creationId xmlns:a16="http://schemas.microsoft.com/office/drawing/2014/main" id="{1AAC8A24-A4AF-7D42-A039-906FAF1C60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208395" y="3141842"/>
              <a:ext cx="2119104" cy="2079370"/>
            </a:xfrm>
            <a:prstGeom prst="rect">
              <a:avLst/>
            </a:prstGeom>
          </p:spPr>
        </p:pic>
      </p:grpSp>
      <p:sp>
        <p:nvSpPr>
          <p:cNvPr id="10" name="page number">
            <a:extLst>
              <a:ext uri="{FF2B5EF4-FFF2-40B4-BE49-F238E27FC236}">
                <a16:creationId xmlns:a16="http://schemas.microsoft.com/office/drawing/2014/main" id="{5ECA43E8-B315-1E42-9C9D-CACFC17C84E6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966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llustration – Indi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465064DB-79E1-A641-9982-84900283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023" y="6339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Title Text Slide with Indigo Digital Workspace Illustration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86E664DE-55F4-0A4D-8BCE-06F2C2ECF7E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70881" y="1962912"/>
            <a:ext cx="6408402" cy="700882"/>
          </a:xfrm>
        </p:spPr>
        <p:txBody>
          <a:bodyPr/>
          <a:lstStyle>
            <a:lvl1pPr marL="342900" indent="-342900" algn="l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lorem ipsum sed dolor</a:t>
            </a:r>
          </a:p>
          <a:p>
            <a:r>
              <a:rPr lang="en-US"/>
              <a:t>Lorem ipsum sed dolor</a:t>
            </a:r>
          </a:p>
          <a:p>
            <a:r>
              <a:rPr lang="en-US" err="1"/>
              <a:t>Consecteteur</a:t>
            </a:r>
            <a:r>
              <a:rPr lang="en-US"/>
              <a:t> dolor sed </a:t>
            </a:r>
            <a:r>
              <a:rPr lang="en-US" err="1"/>
              <a:t>ip</a:t>
            </a:r>
            <a:endParaRPr lang="en-US"/>
          </a:p>
          <a:p>
            <a:r>
              <a:rPr lang="en-US"/>
              <a:t>Amis et ipsum dolor sed</a:t>
            </a:r>
          </a:p>
          <a:p>
            <a:r>
              <a:rPr lang="en-US"/>
              <a:t>Lorem ipsum sed dolo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BC3991C-DFD0-D943-BE34-F7CC89611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562599" y="2760783"/>
            <a:ext cx="10787743" cy="3097091"/>
            <a:chOff x="5562599" y="2760783"/>
            <a:chExt cx="10787743" cy="3097091"/>
          </a:xfrm>
        </p:grpSpPr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816BD8A4-84A9-4840-9ECC-4E5E8EAEB1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803415" y="-1480033"/>
              <a:ext cx="2306112" cy="10787743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7000">
                  <a:schemeClr val="accent2">
                    <a:alpha val="0"/>
                  </a:schemeClr>
                </a:gs>
                <a:gs pos="52000">
                  <a:schemeClr val="accent2">
                    <a:alpha val="70000"/>
                  </a:schemeClr>
                </a:gs>
                <a:gs pos="78000">
                  <a:schemeClr val="accent2">
                    <a:alpha val="0"/>
                  </a:schemeClr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8">
              <a:extLst>
                <a:ext uri="{FF2B5EF4-FFF2-40B4-BE49-F238E27FC236}">
                  <a16:creationId xmlns:a16="http://schemas.microsoft.com/office/drawing/2014/main" id="{DE2C9364-4B83-C74B-A792-2D2C19FC6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0994940" y="2834745"/>
              <a:ext cx="1064877" cy="4981381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6" name="Picture 5" descr="Icon&#10;&#10;">
              <a:extLst>
                <a:ext uri="{FF2B5EF4-FFF2-40B4-BE49-F238E27FC236}">
                  <a16:creationId xmlns:a16="http://schemas.microsoft.com/office/drawing/2014/main" id="{31C44375-7B71-414E-A0D4-349DC3084C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60491" y="3247151"/>
              <a:ext cx="2938410" cy="2327324"/>
            </a:xfrm>
            <a:prstGeom prst="rect">
              <a:avLst/>
            </a:prstGeom>
          </p:spPr>
        </p:pic>
      </p:grpSp>
      <p:sp>
        <p:nvSpPr>
          <p:cNvPr id="10" name="page number">
            <a:extLst>
              <a:ext uri="{FF2B5EF4-FFF2-40B4-BE49-F238E27FC236}">
                <a16:creationId xmlns:a16="http://schemas.microsoft.com/office/drawing/2014/main" id="{EC69C965-E530-9D46-A1DF-AE6806FABA5D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772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llustration – Aqu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465064DB-79E1-A641-9982-84900283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023" y="6339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Title Text Slide with Aqua Multi-Cloud Illust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FEA7A4-FB23-E540-B702-8C1C1BB2E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044827" y="2686050"/>
            <a:ext cx="10384504" cy="2981325"/>
            <a:chOff x="6044827" y="2686050"/>
            <a:chExt cx="10384504" cy="2981325"/>
          </a:xfrm>
        </p:grpSpPr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816BD8A4-84A9-4840-9ECC-4E5E8EAEB1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0127123" y="-1396246"/>
              <a:ext cx="2219911" cy="10384504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33000">
                  <a:schemeClr val="accent3">
                    <a:alpha val="0"/>
                  </a:schemeClr>
                </a:gs>
                <a:gs pos="55000">
                  <a:schemeClr val="accent3">
                    <a:alpha val="70000"/>
                  </a:schemeClr>
                </a:gs>
                <a:gs pos="79000">
                  <a:schemeClr val="accent3">
                    <a:alpha val="0"/>
                  </a:schemeClr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8">
              <a:extLst>
                <a:ext uri="{FF2B5EF4-FFF2-40B4-BE49-F238E27FC236}">
                  <a16:creationId xmlns:a16="http://schemas.microsoft.com/office/drawing/2014/main" id="{DE2C9364-4B83-C74B-A792-2D2C19FC6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1274110" y="2757249"/>
              <a:ext cx="1025073" cy="4795180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29" name="Picture 28" descr="Icon&#10;&#10;">
              <a:extLst>
                <a:ext uri="{FF2B5EF4-FFF2-40B4-BE49-F238E27FC236}">
                  <a16:creationId xmlns:a16="http://schemas.microsoft.com/office/drawing/2014/main" id="{00FBF9A9-0DCA-4B47-9F95-7C285BFC9B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6837" y="3103715"/>
              <a:ext cx="3270401" cy="2162469"/>
            </a:xfrm>
            <a:prstGeom prst="rect">
              <a:avLst/>
            </a:prstGeom>
          </p:spPr>
        </p:pic>
      </p:grpSp>
      <p:sp>
        <p:nvSpPr>
          <p:cNvPr id="10" name="page number">
            <a:extLst>
              <a:ext uri="{FF2B5EF4-FFF2-40B4-BE49-F238E27FC236}">
                <a16:creationId xmlns:a16="http://schemas.microsoft.com/office/drawing/2014/main" id="{E186AE1D-141B-2044-9921-1CBA3634084C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D95BE09-C36A-4B4B-A4B4-51E3E278D944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70881" y="1962912"/>
            <a:ext cx="6408402" cy="700882"/>
          </a:xfrm>
        </p:spPr>
        <p:txBody>
          <a:bodyPr/>
          <a:lstStyle>
            <a:lvl1pPr marL="342900" indent="-342900" algn="l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lorem ipsum sed dolor</a:t>
            </a:r>
          </a:p>
          <a:p>
            <a:r>
              <a:rPr lang="en-US"/>
              <a:t>Lorem ipsum sed dolor</a:t>
            </a:r>
          </a:p>
          <a:p>
            <a:r>
              <a:rPr lang="en-US" err="1"/>
              <a:t>Consecteteur</a:t>
            </a:r>
            <a:r>
              <a:rPr lang="en-US"/>
              <a:t> dolor sed </a:t>
            </a:r>
            <a:r>
              <a:rPr lang="en-US" err="1"/>
              <a:t>ip</a:t>
            </a:r>
            <a:endParaRPr lang="en-US"/>
          </a:p>
          <a:p>
            <a:r>
              <a:rPr lang="en-US"/>
              <a:t>Amis et ipsum dolor sed</a:t>
            </a:r>
          </a:p>
          <a:p>
            <a:r>
              <a:rPr lang="en-US"/>
              <a:t>Lorem ipsum sed dolor</a:t>
            </a:r>
          </a:p>
        </p:txBody>
      </p:sp>
    </p:spTree>
    <p:extLst>
      <p:ext uri="{BB962C8B-B14F-4D97-AF65-F5344CB8AC3E}">
        <p14:creationId xmlns:p14="http://schemas.microsoft.com/office/powerpoint/2010/main" val="233496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llustration – Oce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465064DB-79E1-A641-9982-84900283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022" y="633994"/>
            <a:ext cx="7321704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Title Text Slide with Ocean Color Virtual Cloud Network Illust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B8F874-D193-EE48-B5D2-527C9F2D5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47907" y="2805835"/>
            <a:ext cx="10395056" cy="2984355"/>
            <a:chOff x="5847907" y="2763303"/>
            <a:chExt cx="10395056" cy="2984355"/>
          </a:xfrm>
        </p:grpSpPr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816BD8A4-84A9-4840-9ECC-4E5E8EAEB1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934351" y="-1323141"/>
              <a:ext cx="2222167" cy="10395056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33000">
                  <a:schemeClr val="accent1">
                    <a:alpha val="0"/>
                  </a:schemeClr>
                </a:gs>
                <a:gs pos="56000">
                  <a:schemeClr val="accent1">
                    <a:alpha val="70000"/>
                  </a:schemeClr>
                </a:gs>
                <a:gs pos="78000">
                  <a:schemeClr val="accent1">
                    <a:alpha val="0"/>
                  </a:schemeClr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8">
              <a:extLst>
                <a:ext uri="{FF2B5EF4-FFF2-40B4-BE49-F238E27FC236}">
                  <a16:creationId xmlns:a16="http://schemas.microsoft.com/office/drawing/2014/main" id="{DE2C9364-4B83-C74B-A792-2D2C19FC6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1082502" y="2834575"/>
              <a:ext cx="1026114" cy="4800052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BB8F28C-903D-A34B-B23A-0C6DD9A01B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46785" y="2934586"/>
              <a:ext cx="2146119" cy="2096784"/>
            </a:xfrm>
            <a:prstGeom prst="rect">
              <a:avLst/>
            </a:prstGeom>
          </p:spPr>
        </p:pic>
      </p:grpSp>
      <p:sp>
        <p:nvSpPr>
          <p:cNvPr id="10" name="page number">
            <a:extLst>
              <a:ext uri="{FF2B5EF4-FFF2-40B4-BE49-F238E27FC236}">
                <a16:creationId xmlns:a16="http://schemas.microsoft.com/office/drawing/2014/main" id="{6C83A762-8032-D146-92FB-F5E59AD2A596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40E066E-D547-6E42-9DC5-A20A619B8CB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70881" y="1962912"/>
            <a:ext cx="6408402" cy="700882"/>
          </a:xfrm>
        </p:spPr>
        <p:txBody>
          <a:bodyPr/>
          <a:lstStyle>
            <a:lvl1pPr marL="342900" indent="-342900" algn="l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lorem ipsum sed dolor</a:t>
            </a:r>
          </a:p>
          <a:p>
            <a:r>
              <a:rPr lang="en-US"/>
              <a:t>Lorem ipsum sed dolor</a:t>
            </a:r>
          </a:p>
          <a:p>
            <a:r>
              <a:rPr lang="en-US" err="1"/>
              <a:t>Consecteteur</a:t>
            </a:r>
            <a:r>
              <a:rPr lang="en-US"/>
              <a:t> dolor sed </a:t>
            </a:r>
            <a:r>
              <a:rPr lang="en-US" err="1"/>
              <a:t>ip</a:t>
            </a:r>
            <a:endParaRPr lang="en-US"/>
          </a:p>
          <a:p>
            <a:r>
              <a:rPr lang="en-US"/>
              <a:t>Amis et ipsum dolor sed</a:t>
            </a:r>
          </a:p>
          <a:p>
            <a:r>
              <a:rPr lang="en-US"/>
              <a:t>Lorem ipsum sed dolor</a:t>
            </a:r>
          </a:p>
        </p:txBody>
      </p:sp>
    </p:spTree>
    <p:extLst>
      <p:ext uri="{BB962C8B-B14F-4D97-AF65-F5344CB8AC3E}">
        <p14:creationId xmlns:p14="http://schemas.microsoft.com/office/powerpoint/2010/main" val="343265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llustration – Plu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465064DB-79E1-A641-9982-84900283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022" y="633994"/>
            <a:ext cx="6758177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Title Text Slide with Plum Color Intrinsic Security Illust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939AD08-B308-7E43-AB28-1AD4B8957C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156252" y="2771663"/>
            <a:ext cx="10097344" cy="2912201"/>
            <a:chOff x="4413887" y="1843895"/>
            <a:chExt cx="12945495" cy="3733644"/>
          </a:xfrm>
        </p:grpSpPr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816BD8A4-84A9-4840-9ECC-4E5E8EAEB1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502946" y="-3228090"/>
              <a:ext cx="2767378" cy="12945495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6000">
                  <a:schemeClr val="accent5">
                    <a:alpha val="0"/>
                  </a:schemeClr>
                </a:gs>
                <a:gs pos="53000">
                  <a:schemeClr val="accent5">
                    <a:alpha val="70000"/>
                  </a:schemeClr>
                </a:gs>
                <a:gs pos="78000">
                  <a:schemeClr val="accent5">
                    <a:alpha val="0"/>
                  </a:schemeClr>
                </a:gs>
              </a:gsLst>
              <a:lin ang="27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8">
              <a:extLst>
                <a:ext uri="{FF2B5EF4-FFF2-40B4-BE49-F238E27FC236}">
                  <a16:creationId xmlns:a16="http://schemas.microsoft.com/office/drawing/2014/main" id="{DE2C9364-4B83-C74B-A792-2D2C19FC6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10932797" y="1949727"/>
              <a:ext cx="1277873" cy="5977751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" name="Picture 3" descr="Icon&#10;&#10;">
              <a:extLst>
                <a:ext uri="{FF2B5EF4-FFF2-40B4-BE49-F238E27FC236}">
                  <a16:creationId xmlns:a16="http://schemas.microsoft.com/office/drawing/2014/main" id="{C939AE73-F1AB-C848-B29C-1763B3E10A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811347" y="1843895"/>
              <a:ext cx="2631885" cy="2989069"/>
            </a:xfrm>
            <a:prstGeom prst="rect">
              <a:avLst/>
            </a:prstGeom>
          </p:spPr>
        </p:pic>
      </p:grpSp>
      <p:sp>
        <p:nvSpPr>
          <p:cNvPr id="10" name="page number">
            <a:extLst>
              <a:ext uri="{FF2B5EF4-FFF2-40B4-BE49-F238E27FC236}">
                <a16:creationId xmlns:a16="http://schemas.microsoft.com/office/drawing/2014/main" id="{504A0DA9-DB77-B34C-9A1C-8C06BA8295A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6C00632-F722-264C-AADE-DE27CE15D72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70881" y="1962912"/>
            <a:ext cx="6408402" cy="700882"/>
          </a:xfrm>
        </p:spPr>
        <p:txBody>
          <a:bodyPr/>
          <a:lstStyle>
            <a:lvl1pPr marL="342900" indent="-342900" algn="l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 lorem ipsum sed dolor</a:t>
            </a:r>
          </a:p>
          <a:p>
            <a:r>
              <a:rPr lang="en-US"/>
              <a:t>Lorem ipsum sed dolor</a:t>
            </a:r>
          </a:p>
          <a:p>
            <a:r>
              <a:rPr lang="en-US" err="1"/>
              <a:t>Consecteteur</a:t>
            </a:r>
            <a:r>
              <a:rPr lang="en-US"/>
              <a:t> dolor sed </a:t>
            </a:r>
            <a:r>
              <a:rPr lang="en-US" err="1"/>
              <a:t>ip</a:t>
            </a:r>
            <a:endParaRPr lang="en-US"/>
          </a:p>
          <a:p>
            <a:r>
              <a:rPr lang="en-US"/>
              <a:t>Amis et ipsum dolor sed</a:t>
            </a:r>
          </a:p>
          <a:p>
            <a:r>
              <a:rPr lang="en-US"/>
              <a:t>Lorem ipsum sed dolor</a:t>
            </a:r>
          </a:p>
        </p:txBody>
      </p:sp>
    </p:spTree>
    <p:extLst>
      <p:ext uri="{BB962C8B-B14F-4D97-AF65-F5344CB8AC3E}">
        <p14:creationId xmlns:p14="http://schemas.microsoft.com/office/powerpoint/2010/main" val="241267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08D3F09-D706-3940-8906-CE0F09AC4B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621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accent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 text on left, leaf and ocean parallelograms on right. Lorem ipsum sed.”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1E51E88-6733-7942-B20E-2C56F8B2ED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588109-A3B0-F349-A053-2B0486EAC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90760" y="1541857"/>
            <a:ext cx="11113170" cy="4175661"/>
            <a:chOff x="2890760" y="1541857"/>
            <a:chExt cx="11113170" cy="4175661"/>
          </a:xfrm>
        </p:grpSpPr>
        <p:sp>
          <p:nvSpPr>
            <p:cNvPr id="23" name="Freeform: Shape 23">
              <a:extLst>
                <a:ext uri="{FF2B5EF4-FFF2-40B4-BE49-F238E27FC236}">
                  <a16:creationId xmlns:a16="http://schemas.microsoft.com/office/drawing/2014/main" id="{F5621D6A-7BA7-2D4E-9E9C-E48F3EA9A806}"/>
                </a:ext>
              </a:extLst>
            </p:cNvPr>
            <p:cNvSpPr/>
            <p:nvPr userDrawn="1"/>
          </p:nvSpPr>
          <p:spPr>
            <a:xfrm rot="13500000">
              <a:off x="6699960" y="862779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30000">
                  <a:srgbClr val="F4F8FA">
                    <a:alpha val="0"/>
                  </a:srgb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8B38AB6-48D7-BF47-8944-C9B92F716B9B}"/>
                </a:ext>
              </a:extLst>
            </p:cNvPr>
            <p:cNvSpPr/>
            <p:nvPr userDrawn="1"/>
          </p:nvSpPr>
          <p:spPr>
            <a:xfrm rot="2700000">
              <a:off x="9149191" y="-2267343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22000">
                  <a:srgbClr val="F4F8FA">
                    <a:alpha val="0"/>
                  </a:srgbClr>
                </a:gs>
                <a:gs pos="100000">
                  <a:schemeClr val="accent4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1" name="Picture Placeholder 11" descr="logo placeholder: click to insert logo or delete box if not needed">
            <a:extLst>
              <a:ext uri="{FF2B5EF4-FFF2-40B4-BE49-F238E27FC236}">
                <a16:creationId xmlns:a16="http://schemas.microsoft.com/office/drawing/2014/main" id="{953CF3A7-833E-B042-A405-AB46430C4476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8925484" y="4619335"/>
            <a:ext cx="2740025" cy="1371600"/>
          </a:xfrm>
        </p:spPr>
        <p:txBody>
          <a:bodyPr/>
          <a:lstStyle/>
          <a:p>
            <a:r>
              <a:rPr lang="en-US"/>
              <a:t>Click to insert logo or delete box if not needed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CF49B1-1E74-3F4C-8694-8D087C1A90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1D0B5D01-0665-0146-8FD3-E69D9625BEF7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VMware, Inc.</a:t>
            </a:r>
          </a:p>
        </p:txBody>
      </p:sp>
      <p:sp>
        <p:nvSpPr>
          <p:cNvPr id="17" name="page number">
            <a:extLst>
              <a:ext uri="{FF2B5EF4-FFF2-40B4-BE49-F238E27FC236}">
                <a16:creationId xmlns:a16="http://schemas.microsoft.com/office/drawing/2014/main" id="{D03B3F1E-BEE4-0C40-B954-F58A7FCE9AE3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51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08D3F09-D706-3940-8906-CE0F09AC4B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accent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 text on left, plum and indigo parallelograms on the right. Lorem ipsum sed.”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1E51E88-6733-7942-B20E-2C56F8B2ED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A578B67-8880-784A-A902-6A1294D784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90760" y="1541857"/>
            <a:ext cx="11113170" cy="4175661"/>
            <a:chOff x="2890760" y="1541857"/>
            <a:chExt cx="11113170" cy="4175661"/>
          </a:xfrm>
        </p:grpSpPr>
        <p:sp>
          <p:nvSpPr>
            <p:cNvPr id="23" name="Freeform: Shape 23">
              <a:extLst>
                <a:ext uri="{FF2B5EF4-FFF2-40B4-BE49-F238E27FC236}">
                  <a16:creationId xmlns:a16="http://schemas.microsoft.com/office/drawing/2014/main" id="{C1466380-5063-9D46-90F9-93AB3505D06F}"/>
                </a:ext>
              </a:extLst>
            </p:cNvPr>
            <p:cNvSpPr/>
            <p:nvPr userDrawn="1"/>
          </p:nvSpPr>
          <p:spPr>
            <a:xfrm rot="13500000">
              <a:off x="6699960" y="862779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30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91D11C0-4B32-9840-9A60-66D012C1EC3D}"/>
                </a:ext>
              </a:extLst>
            </p:cNvPr>
            <p:cNvSpPr/>
            <p:nvPr userDrawn="1"/>
          </p:nvSpPr>
          <p:spPr>
            <a:xfrm rot="2700000">
              <a:off x="9149191" y="-2267343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22000">
                  <a:schemeClr val="bg1">
                    <a:alpha val="0"/>
                  </a:schemeClr>
                </a:gs>
                <a:gs pos="100000">
                  <a:schemeClr val="accent5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1" name="Picture Placeholder 11" descr="logo placeholder: click to insert logo or delete box if not needed">
            <a:extLst>
              <a:ext uri="{FF2B5EF4-FFF2-40B4-BE49-F238E27FC236}">
                <a16:creationId xmlns:a16="http://schemas.microsoft.com/office/drawing/2014/main" id="{A92ABA6C-6064-9743-BF58-8AB21015448D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8925484" y="4619335"/>
            <a:ext cx="2740025" cy="1371600"/>
          </a:xfrm>
        </p:spPr>
        <p:txBody>
          <a:bodyPr/>
          <a:lstStyle/>
          <a:p>
            <a:r>
              <a:rPr lang="en-US"/>
              <a:t>Click to insert logo or delete box if not needed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AC1CF0-19BE-BF46-ACDD-FDC928BF44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C051D70B-DBA0-4C40-8AB4-46A2F20CE62D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7" name="page number">
            <a:extLst>
              <a:ext uri="{FF2B5EF4-FFF2-40B4-BE49-F238E27FC236}">
                <a16:creationId xmlns:a16="http://schemas.microsoft.com/office/drawing/2014/main" id="{DBC60254-9AEC-2A49-ABD6-870EE5B97F6C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53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08D3F09-D706-3940-8906-CE0F09AC4B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accent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 text on left, aqua and ocean parallelograms on right. Lorem ipsum sed.”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1E51E88-6733-7942-B20E-2C56F8B2ED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4BBE16-1FB5-984C-BF65-9595C408E5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90760" y="1541857"/>
            <a:ext cx="11113170" cy="4175661"/>
            <a:chOff x="2890760" y="1541857"/>
            <a:chExt cx="11113170" cy="4175661"/>
          </a:xfrm>
        </p:grpSpPr>
        <p:sp>
          <p:nvSpPr>
            <p:cNvPr id="23" name="Freeform: Shape 23">
              <a:extLst>
                <a:ext uri="{FF2B5EF4-FFF2-40B4-BE49-F238E27FC236}">
                  <a16:creationId xmlns:a16="http://schemas.microsoft.com/office/drawing/2014/main" id="{923BAA50-9128-7F48-9829-4C8049163190}"/>
                </a:ext>
              </a:extLst>
            </p:cNvPr>
            <p:cNvSpPr/>
            <p:nvPr userDrawn="1"/>
          </p:nvSpPr>
          <p:spPr>
            <a:xfrm rot="13500000">
              <a:off x="6699960" y="862779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30000">
                  <a:schemeClr val="bg1">
                    <a:alpha val="0"/>
                  </a:schemeClr>
                </a:gs>
                <a:gs pos="100000">
                  <a:schemeClr val="accent3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871174D-4419-434C-B971-0167EC393A63}"/>
                </a:ext>
              </a:extLst>
            </p:cNvPr>
            <p:cNvSpPr/>
            <p:nvPr userDrawn="1"/>
          </p:nvSpPr>
          <p:spPr>
            <a:xfrm rot="2700000">
              <a:off x="9149191" y="-2267343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22000">
                  <a:schemeClr val="bg1">
                    <a:alpha val="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1" name="Picture Placeholder 11" descr="logo placeholder: click to insert logo or delete box if not needed">
            <a:extLst>
              <a:ext uri="{FF2B5EF4-FFF2-40B4-BE49-F238E27FC236}">
                <a16:creationId xmlns:a16="http://schemas.microsoft.com/office/drawing/2014/main" id="{90CA8A2D-22C2-3546-ACA3-B76C2A2C9541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8925484" y="4619335"/>
            <a:ext cx="2740025" cy="1371600"/>
          </a:xfrm>
        </p:spPr>
        <p:txBody>
          <a:bodyPr/>
          <a:lstStyle/>
          <a:p>
            <a:r>
              <a:rPr lang="en-US"/>
              <a:t>Click to insert logo or delete box if not needed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6E2E59-D8A9-4B45-AB42-A0E92FBBFF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E1A1E841-C196-A64E-BF02-3A903FE03983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7" name="page number">
            <a:extLst>
              <a:ext uri="{FF2B5EF4-FFF2-40B4-BE49-F238E27FC236}">
                <a16:creationId xmlns:a16="http://schemas.microsoft.com/office/drawing/2014/main" id="{81F6B6E3-D446-FF48-A968-0E6ED9485DE5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85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hoto 1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700000">
            <a:off x="956578" y="-4049006"/>
            <a:ext cx="6293364" cy="12454818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9000">
                <a:schemeClr val="bg1">
                  <a:alpha val="31000"/>
                </a:schemeClr>
              </a:gs>
              <a:gs pos="5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1324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accent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 page with photo showing woman working on laptop. Click to replace text.”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EF265DB-7DD2-824C-8890-64F8B52BD1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0" name="Copyright" descr="Confidential copyright VMware, Inc. 2021">
            <a:extLst>
              <a:ext uri="{FF2B5EF4-FFF2-40B4-BE49-F238E27FC236}">
                <a16:creationId xmlns:a16="http://schemas.microsoft.com/office/drawing/2014/main" id="{4EF618B9-8BC7-7D41-B0C8-973C952F0F7B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65B8D505-D55C-B546-9B33-22157CD80DE2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</a:rPr>
              <a:pPr lvl="0" algn="r"/>
              <a:t>‹#›</a:t>
            </a:fld>
            <a:endParaRPr lang="en-US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76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ingle Content Layout 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8794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05" y="1600201"/>
            <a:ext cx="10972800" cy="457200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  <a:lvl6pPr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175B5FDB-839C-A941-B264-01387F31F005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02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/>
              <a:t>Title Slide - Plum &amp; Indigo Color Theme</a:t>
            </a:r>
          </a:p>
        </p:txBody>
      </p:sp>
      <p:sp>
        <p:nvSpPr>
          <p:cNvPr id="128" name="Subtitle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13" name="Click to edit Speaker Name ">
            <a:extLst>
              <a:ext uri="{FF2B5EF4-FFF2-40B4-BE49-F238E27FC236}">
                <a16:creationId xmlns:a16="http://schemas.microsoft.com/office/drawing/2014/main" id="{BE8CF301-A89D-F446-8E25-48C52B357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5402202" cy="35560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 lang="en-US" sz="1600" b="0" i="0" u="none" strike="noStrike" smtClean="0"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peaker Name (Insert pronouns)</a:t>
            </a:r>
          </a:p>
        </p:txBody>
      </p:sp>
      <p:sp>
        <p:nvSpPr>
          <p:cNvPr id="14" name="Click to edit role">
            <a:extLst>
              <a:ext uri="{FF2B5EF4-FFF2-40B4-BE49-F238E27FC236}">
                <a16:creationId xmlns:a16="http://schemas.microsoft.com/office/drawing/2014/main" id="{A6793BDF-BE4B-0441-BDFD-DE9B2F59D3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17480"/>
            <a:ext cx="5402202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7" name="Click to edit role">
            <a:extLst>
              <a:ext uri="{FF2B5EF4-FFF2-40B4-BE49-F238E27FC236}">
                <a16:creationId xmlns:a16="http://schemas.microsoft.com/office/drawing/2014/main" id="{DF9375A3-70DB-2E43-AFE1-9357176168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2948" y="5485986"/>
            <a:ext cx="5402202" cy="355601"/>
          </a:xfrm>
        </p:spPr>
        <p:txBody>
          <a:bodyPr/>
          <a:lstStyle>
            <a:lvl1pPr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3" name="parallelograms">
            <a:extLst>
              <a:ext uri="{FF2B5EF4-FFF2-40B4-BE49-F238E27FC236}">
                <a16:creationId xmlns:a16="http://schemas.microsoft.com/office/drawing/2014/main" id="{1959EE4C-B533-6844-BFC2-39F3BC58AE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88217" y="1084671"/>
            <a:ext cx="9623529" cy="5494609"/>
            <a:chOff x="-1488217" y="1084671"/>
            <a:chExt cx="9623529" cy="5494609"/>
          </a:xfrm>
        </p:grpSpPr>
        <p:sp>
          <p:nvSpPr>
            <p:cNvPr id="35" name="Freeform 34" title="gradient decorative shape">
              <a:extLst>
                <a:ext uri="{FF2B5EF4-FFF2-40B4-BE49-F238E27FC236}">
                  <a16:creationId xmlns:a16="http://schemas.microsoft.com/office/drawing/2014/main" id="{FC6E33BE-E922-E74A-8DF9-693000E673D6}"/>
                </a:ext>
              </a:extLst>
            </p:cNvPr>
            <p:cNvSpPr/>
            <p:nvPr userDrawn="1"/>
          </p:nvSpPr>
          <p:spPr>
            <a:xfrm rot="2700000">
              <a:off x="2061554" y="1519285"/>
              <a:ext cx="2801109" cy="7318881"/>
            </a:xfrm>
            <a:custGeom>
              <a:avLst/>
              <a:gdLst>
                <a:gd name="connsiteX0" fmla="*/ 0 w 2801109"/>
                <a:gd name="connsiteY0" fmla="*/ 0 h 7318881"/>
                <a:gd name="connsiteX1" fmla="*/ 2801109 w 2801109"/>
                <a:gd name="connsiteY1" fmla="*/ 0 h 7318881"/>
                <a:gd name="connsiteX2" fmla="*/ 2801109 w 2801109"/>
                <a:gd name="connsiteY2" fmla="*/ 4642648 h 7318881"/>
                <a:gd name="connsiteX3" fmla="*/ 163834 w 2801109"/>
                <a:gd name="connsiteY3" fmla="*/ 7318881 h 7318881"/>
                <a:gd name="connsiteX4" fmla="*/ 0 w 2801109"/>
                <a:gd name="connsiteY4" fmla="*/ 7155046 h 731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1109" h="7318881">
                  <a:moveTo>
                    <a:pt x="0" y="0"/>
                  </a:moveTo>
                  <a:lnTo>
                    <a:pt x="2801109" y="0"/>
                  </a:lnTo>
                  <a:lnTo>
                    <a:pt x="2801109" y="4642648"/>
                  </a:lnTo>
                  <a:lnTo>
                    <a:pt x="163834" y="7318881"/>
                  </a:lnTo>
                  <a:lnTo>
                    <a:pt x="0" y="7155046"/>
                  </a:lnTo>
                  <a:close/>
                </a:path>
              </a:pathLst>
            </a:custGeom>
            <a:gradFill>
              <a:gsLst>
                <a:gs pos="25000">
                  <a:schemeClr val="bg1">
                    <a:alpha val="0"/>
                  </a:schemeClr>
                </a:gs>
                <a:gs pos="72000">
                  <a:schemeClr val="accent2"/>
                </a:gs>
              </a:gsLst>
              <a:lin ang="42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Freeform 33" title="gradient decorative shape">
              <a:extLst>
                <a:ext uri="{FF2B5EF4-FFF2-40B4-BE49-F238E27FC236}">
                  <a16:creationId xmlns:a16="http://schemas.microsoft.com/office/drawing/2014/main" id="{02065BB3-0DD8-1442-A077-9B671C2CD52B}"/>
                </a:ext>
              </a:extLst>
            </p:cNvPr>
            <p:cNvSpPr/>
            <p:nvPr userDrawn="1"/>
          </p:nvSpPr>
          <p:spPr>
            <a:xfrm rot="2700000">
              <a:off x="1987453" y="-2390999"/>
              <a:ext cx="2672190" cy="9623529"/>
            </a:xfrm>
            <a:custGeom>
              <a:avLst/>
              <a:gdLst>
                <a:gd name="connsiteX0" fmla="*/ 0 w 2672190"/>
                <a:gd name="connsiteY0" fmla="*/ 2669635 h 9623529"/>
                <a:gd name="connsiteX1" fmla="*/ 2669635 w 2672190"/>
                <a:gd name="connsiteY1" fmla="*/ 0 h 9623529"/>
                <a:gd name="connsiteX2" fmla="*/ 2669635 w 2672190"/>
                <a:gd name="connsiteY2" fmla="*/ 8389488 h 9623529"/>
                <a:gd name="connsiteX3" fmla="*/ 2671345 w 2672190"/>
                <a:gd name="connsiteY3" fmla="*/ 8407448 h 9623529"/>
                <a:gd name="connsiteX4" fmla="*/ 2671258 w 2672190"/>
                <a:gd name="connsiteY4" fmla="*/ 9386208 h 9623529"/>
                <a:gd name="connsiteX5" fmla="*/ 1437129 w 2672190"/>
                <a:gd name="connsiteY5" fmla="*/ 9623529 h 9623529"/>
                <a:gd name="connsiteX6" fmla="*/ 0 w 2672190"/>
                <a:gd name="connsiteY6" fmla="*/ 8186399 h 962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2190" h="9623529">
                  <a:moveTo>
                    <a:pt x="0" y="2669635"/>
                  </a:moveTo>
                  <a:lnTo>
                    <a:pt x="2669635" y="0"/>
                  </a:lnTo>
                  <a:lnTo>
                    <a:pt x="2669635" y="8389488"/>
                  </a:lnTo>
                  <a:lnTo>
                    <a:pt x="2671345" y="8407448"/>
                  </a:lnTo>
                  <a:cubicBezTo>
                    <a:pt x="2674309" y="8739688"/>
                    <a:pt x="2668294" y="9053968"/>
                    <a:pt x="2671258" y="9386208"/>
                  </a:cubicBezTo>
                  <a:lnTo>
                    <a:pt x="1437129" y="9623529"/>
                  </a:lnTo>
                  <a:lnTo>
                    <a:pt x="0" y="8186399"/>
                  </a:lnTo>
                  <a:close/>
                </a:path>
              </a:pathLst>
            </a:custGeom>
            <a:gradFill>
              <a:gsLst>
                <a:gs pos="33000">
                  <a:schemeClr val="accent5"/>
                </a:gs>
                <a:gs pos="78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2" name="VMware logo">
            <a:extLst>
              <a:ext uri="{FF2B5EF4-FFF2-40B4-BE49-F238E27FC236}">
                <a16:creationId xmlns:a16="http://schemas.microsoft.com/office/drawing/2014/main" id="{035326E7-5957-7044-817A-3F5C6E6F5C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5185"/>
            <a:ext cx="1535550" cy="556262"/>
          </a:xfrm>
          <a:prstGeom prst="rect">
            <a:avLst/>
          </a:prstGeom>
        </p:spPr>
      </p:pic>
      <p:sp>
        <p:nvSpPr>
          <p:cNvPr id="15" name="Copyright" descr="Confidential copyright VMware, Inc. 2021">
            <a:extLst>
              <a:ext uri="{FF2B5EF4-FFF2-40B4-BE49-F238E27FC236}">
                <a16:creationId xmlns:a16="http://schemas.microsoft.com/office/drawing/2014/main" id="{6B466EAD-9C9C-9545-95DA-EC3C4E242655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365349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6" name="page number">
            <a:extLst>
              <a:ext uri="{FF2B5EF4-FFF2-40B4-BE49-F238E27FC236}">
                <a16:creationId xmlns:a16="http://schemas.microsoft.com/office/drawing/2014/main" id="{F2584149-C6DB-AE45-B715-90B7DF169DD6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21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ntent Layout 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9809" y="1600200"/>
            <a:ext cx="5313783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/>
            </a:lvl1pPr>
            <a:lvl2pPr>
              <a:defRPr lang="en-US" sz="1600" dirty="0"/>
            </a:lvl2pPr>
            <a:lvl3pPr>
              <a:defRPr lang="en-US" sz="14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e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1287" y="1600200"/>
            <a:ext cx="5867538" cy="4572000"/>
          </a:xfrm>
        </p:spPr>
        <p:txBody>
          <a:bodyPr vert="horz" lIns="0" tIns="0" rIns="457200" bIns="0" rtlCol="0">
            <a:noAutofit/>
          </a:bodyPr>
          <a:lstStyle>
            <a:lvl1pPr>
              <a:defRPr lang="en-US" sz="1800" dirty="0"/>
            </a:lvl1pPr>
            <a:lvl2pPr>
              <a:defRPr lang="en-US" sz="1600" dirty="0"/>
            </a:lvl2pPr>
            <a:lvl3pPr>
              <a:defRPr lang="en-US" sz="1400" dirty="0"/>
            </a:lvl3pPr>
            <a:lvl4pPr>
              <a:defRPr lang="en-US" sz="1200" dirty="0"/>
            </a:lvl4pPr>
            <a:lvl5pPr>
              <a:defRPr lang="en-US" sz="1200" dirty="0"/>
            </a:lvl5pPr>
            <a:lvl6pPr>
              <a:defRPr lang="en-US" sz="1200" dirty="0"/>
            </a:lvl6pPr>
            <a:lvl7pPr>
              <a:defRPr lang="en-US" sz="1200" dirty="0"/>
            </a:lvl7pPr>
            <a:lvl8pPr>
              <a:defRPr lang="en-US" sz="1200" dirty="0"/>
            </a:lvl8pPr>
            <a:lvl9pPr>
              <a:defRPr lang="en-US" sz="1200" dirty="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eth level</a:t>
            </a:r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306FFEC8-099C-484D-841A-7FCB225B1895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33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Color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3381" y="1600201"/>
            <a:ext cx="5865445" cy="4572000"/>
          </a:xfrm>
          <a:solidFill>
            <a:srgbClr val="F4F8FA"/>
          </a:solidFill>
        </p:spPr>
        <p:txBody>
          <a:bodyPr vert="horz" lIns="457200" tIns="457200" rIns="457200" bIns="457200" rtlCol="0">
            <a:noAutofit/>
          </a:bodyPr>
          <a:lstStyle>
            <a:lvl1pPr>
              <a:defRPr lang="en-US" sz="1800" dirty="0">
                <a:solidFill>
                  <a:schemeClr val="accent2"/>
                </a:solidFill>
              </a:defRPr>
            </a:lvl1pPr>
            <a:lvl2pPr>
              <a:defRPr lang="en-US" sz="1600" dirty="0">
                <a:solidFill>
                  <a:schemeClr val="accent2"/>
                </a:solidFill>
              </a:defRPr>
            </a:lvl2pPr>
            <a:lvl3pPr>
              <a:defRPr lang="en-US" sz="1400" dirty="0">
                <a:solidFill>
                  <a:schemeClr val="accent2"/>
                </a:solidFill>
              </a:defRPr>
            </a:lvl3pPr>
            <a:lvl4pPr>
              <a:defRPr lang="en-US" sz="1200" dirty="0">
                <a:solidFill>
                  <a:schemeClr val="accent2"/>
                </a:solidFill>
              </a:defRPr>
            </a:lvl4pPr>
            <a:lvl5pPr>
              <a:defRPr lang="en-US" sz="1200" dirty="0"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>
              <a:spcBef>
                <a:spcPts val="1200"/>
              </a:spcBef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e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ltGray">
          <a:xfrm>
            <a:off x="0" y="1600201"/>
            <a:ext cx="5893593" cy="4572000"/>
          </a:xfrm>
          <a:noFill/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ntent Layout: Graphic on Left, Text on Right - Click to Edit</a:t>
            </a:r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1727F760-24DE-9A42-B7E9-356D8DC2BDAE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3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Color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ntent Layout: Text on Left, Graphic on Right - Click to Edi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E4143250-D1B5-E54B-9FA1-AB95D634DBC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0" y="1600201"/>
            <a:ext cx="5865445" cy="4572000"/>
          </a:xfrm>
          <a:solidFill>
            <a:srgbClr val="F4F8FA"/>
          </a:solidFill>
        </p:spPr>
        <p:txBody>
          <a:bodyPr vert="horz" lIns="457200" tIns="457200" rIns="457200" bIns="457200" rtlCol="0">
            <a:noAutofit/>
          </a:bodyPr>
          <a:lstStyle>
            <a:lvl1pPr>
              <a:defRPr lang="en-US" sz="1800" dirty="0">
                <a:solidFill>
                  <a:schemeClr val="accent2"/>
                </a:solidFill>
              </a:defRPr>
            </a:lvl1pPr>
            <a:lvl2pPr>
              <a:defRPr lang="en-US" sz="1600" dirty="0">
                <a:solidFill>
                  <a:schemeClr val="accent2"/>
                </a:solidFill>
              </a:defRPr>
            </a:lvl2pPr>
            <a:lvl3pPr>
              <a:defRPr lang="en-US" sz="1400" dirty="0">
                <a:solidFill>
                  <a:schemeClr val="accent2"/>
                </a:solidFill>
              </a:defRPr>
            </a:lvl3pPr>
            <a:lvl4pPr>
              <a:defRPr lang="en-US" sz="1200" dirty="0">
                <a:solidFill>
                  <a:schemeClr val="accent2"/>
                </a:solidFill>
              </a:defRPr>
            </a:lvl4pPr>
            <a:lvl5pPr>
              <a:defRPr lang="en-US" sz="1200" dirty="0">
                <a:solidFill>
                  <a:schemeClr val="accent2"/>
                </a:solidFill>
              </a:defRPr>
            </a:lvl5pPr>
          </a:lstStyle>
          <a:p>
            <a:pPr lvl="0">
              <a:spcBef>
                <a:spcPts val="1200"/>
              </a:spcBef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ltGray">
          <a:xfrm>
            <a:off x="6295232" y="1600201"/>
            <a:ext cx="5893593" cy="4572000"/>
          </a:xfrm>
          <a:noFill/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rgbClr val="F4F8FA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0" name="page number">
            <a:extLst>
              <a:ext uri="{FF2B5EF4-FFF2-40B4-BE49-F238E27FC236}">
                <a16:creationId xmlns:a16="http://schemas.microsoft.com/office/drawing/2014/main" id="{4FD1F5D3-21E9-5341-B48A-48F1E4CF33AB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8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-content Text Comparison Layout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E550D89-51A7-894E-88FB-394F3178F2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2866" y="1600202"/>
            <a:ext cx="5044347" cy="875370"/>
          </a:xfrm>
          <a:noFill/>
        </p:spPr>
        <p:txBody>
          <a:bodyPr vert="horz" lIns="0" tIns="91440" rIns="457200" bIns="91440" rtlCol="0" anchor="b">
            <a:no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header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1B5F83-A93D-544C-8DB4-B164DBF2F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66" y="2484176"/>
            <a:ext cx="504434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0170DFD5-97D2-3349-AE52-EB22861A688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79808" y="2621020"/>
            <a:ext cx="5071595" cy="354402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/>
            </a:lvl1pPr>
            <a:lvl2pPr>
              <a:defRPr lang="en-US" sz="1600" dirty="0"/>
            </a:lvl2pPr>
            <a:lvl3pPr>
              <a:defRPr lang="en-US" sz="14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61E082F-F30B-BC46-BB99-CA9B65C081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6832" y="1600202"/>
            <a:ext cx="5372100" cy="875370"/>
          </a:xfrm>
          <a:noFill/>
        </p:spPr>
        <p:txBody>
          <a:bodyPr vert="horz" lIns="0" tIns="91440" rIns="457200" bIns="91440" rtlCol="0" anchor="b">
            <a:noAutofit/>
          </a:bodyPr>
          <a:lstStyle>
            <a:lvl1pPr>
              <a:defRPr lang="en-US"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header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7D4F8B-2025-D14C-A41E-9C0B401DE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51981" y="2484176"/>
            <a:ext cx="5044347" cy="4571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Content Placeholder 17">
            <a:extLst>
              <a:ext uri="{FF2B5EF4-FFF2-40B4-BE49-F238E27FC236}">
                <a16:creationId xmlns:a16="http://schemas.microsoft.com/office/drawing/2014/main" id="{3EE56D9F-2DF2-4F43-A13A-4844DFE465A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556249" y="2621280"/>
            <a:ext cx="5372682" cy="357512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/>
            </a:lvl1pPr>
            <a:lvl2pPr>
              <a:defRPr lang="en-US" sz="1600" dirty="0"/>
            </a:lvl2pPr>
            <a:lvl3pPr>
              <a:defRPr lang="en-US" sz="1400" dirty="0"/>
            </a:lvl3pPr>
            <a:lvl4pPr>
              <a:defRPr lang="en-US" sz="1200" dirty="0"/>
            </a:lvl4pPr>
            <a:lvl5pPr>
              <a:defRPr lang="en-US" sz="1200" dirty="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3E816477-50B7-9248-BE5F-B9062610CEEE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81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-content Layout – Three Horizontal Text Boxes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0956C27-3D46-7745-A4A9-42842784C1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2866" y="1582754"/>
            <a:ext cx="3593592" cy="914400"/>
          </a:xfrm>
          <a:noFill/>
        </p:spPr>
        <p:txBody>
          <a:bodyPr lIns="0" tIns="91440" rIns="182880" bIns="91440" anchor="b"/>
          <a:lstStyle>
            <a:lvl1pPr>
              <a:defRPr sz="1800">
                <a:solidFill>
                  <a:schemeClr val="accent2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64666E-28C9-844E-91D8-ECA2F1E575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66" y="2509480"/>
            <a:ext cx="3593592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88F3A7B-ECB7-0E49-B754-464BE3E448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2866" y="2546329"/>
            <a:ext cx="3593592" cy="3619363"/>
          </a:xfrm>
          <a:noFill/>
          <a:ln>
            <a:noFill/>
          </a:ln>
        </p:spPr>
        <p:txBody>
          <a:bodyPr lIns="0" tIns="182880" rIns="182880" bIns="182880"/>
          <a:lstStyle>
            <a:lvl1pPr>
              <a:defRPr sz="1600"/>
            </a:lvl1pPr>
          </a:lstStyle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8975597-2DC5-4748-87A2-37C22D522B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15154" y="1599646"/>
            <a:ext cx="3593592" cy="914400"/>
          </a:xfrm>
          <a:noFill/>
        </p:spPr>
        <p:txBody>
          <a:bodyPr lIns="0" tIns="91440" rIns="182880" bIns="91440" anchor="b"/>
          <a:lstStyle>
            <a:lvl1pPr>
              <a:defRPr sz="1800">
                <a:solidFill>
                  <a:schemeClr val="accent2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3DE0F89-6066-984A-B5C6-BC57894C33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415154" y="2509480"/>
            <a:ext cx="3593592" cy="45719"/>
          </a:xfrm>
          <a:prstGeom prst="rect">
            <a:avLst/>
          </a:prstGeom>
          <a:gradFill>
            <a:gsLst>
              <a:gs pos="99000">
                <a:schemeClr val="accent1"/>
              </a:gs>
              <a:gs pos="23000">
                <a:schemeClr val="accent1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44EE5778-B7AD-374C-B107-63971E5708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15154" y="2546329"/>
            <a:ext cx="3593592" cy="3627562"/>
          </a:xfrm>
          <a:noFill/>
          <a:ln>
            <a:noFill/>
          </a:ln>
        </p:spPr>
        <p:txBody>
          <a:bodyPr lIns="0" tIns="182880" rIns="182880" bIns="182880"/>
          <a:lstStyle>
            <a:lvl1pPr>
              <a:defRPr sz="1600"/>
            </a:lvl1pPr>
          </a:lstStyle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48BF931-C509-8F46-8576-3656F9F4BA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7442" y="1600200"/>
            <a:ext cx="3593592" cy="914400"/>
          </a:xfrm>
          <a:noFill/>
        </p:spPr>
        <p:txBody>
          <a:bodyPr lIns="0" tIns="91440" rIns="182880" bIns="91440" anchor="b"/>
          <a:lstStyle>
            <a:lvl1pPr>
              <a:defRPr sz="1800">
                <a:solidFill>
                  <a:schemeClr val="accent2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7B963A1-3810-7A40-8918-6D6D68B4A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37442" y="2509480"/>
            <a:ext cx="3593592" cy="5024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7C6F38D2-AD30-AE4E-B0AD-4BAFB463F8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37442" y="2568632"/>
            <a:ext cx="3593592" cy="3627773"/>
          </a:xfrm>
          <a:noFill/>
          <a:ln>
            <a:noFill/>
          </a:ln>
        </p:spPr>
        <p:txBody>
          <a:bodyPr lIns="0" tIns="182880" rIns="182880" bIns="182880"/>
          <a:lstStyle>
            <a:lvl1pPr>
              <a:defRPr sz="1600"/>
            </a:lvl1pPr>
          </a:lstStyle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r>
              <a:rPr lang="en-US"/>
              <a:t>Click to add text</a:t>
            </a:r>
          </a:p>
          <a:p>
            <a:endParaRPr lang="en-US"/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7788490C-B63E-8E46-A9C1-9CF865F7FA57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00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Color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Two-content Layout – Highlight Text on Left, Text/Graphic on Right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add 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64AC6E-1611-244C-BA28-696924BAB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1589925"/>
            <a:ext cx="2894012" cy="548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44788"/>
            <a:ext cx="2894013" cy="4527411"/>
          </a:xfrm>
          <a:solidFill>
            <a:srgbClr val="F4F8FA"/>
          </a:solidFill>
        </p:spPr>
        <p:txBody>
          <a:bodyPr vert="horz" lIns="457200" tIns="457200" rIns="457200" bIns="457200" rtlCol="0">
            <a:noAutofit/>
          </a:bodyPr>
          <a:lstStyle>
            <a:lvl1pPr>
              <a:defRPr lang="en-US" sz="1800" dirty="0">
                <a:solidFill>
                  <a:schemeClr val="accent2"/>
                </a:solidFill>
              </a:defRPr>
            </a:lvl1pPr>
            <a:lvl2pPr>
              <a:defRPr lang="en-US" sz="1600" dirty="0" smtClean="0">
                <a:solidFill>
                  <a:schemeClr val="accent2"/>
                </a:solidFill>
              </a:defRPr>
            </a:lvl2pPr>
            <a:lvl3pPr>
              <a:defRPr lang="en-US" sz="1400" dirty="0" smtClean="0">
                <a:solidFill>
                  <a:schemeClr val="accent2"/>
                </a:solidFill>
              </a:defRPr>
            </a:lvl3pPr>
            <a:lvl4pPr>
              <a:defRPr lang="en-US" sz="1200" dirty="0" smtClean="0">
                <a:solidFill>
                  <a:schemeClr val="accent2"/>
                </a:solidFill>
              </a:defRPr>
            </a:lvl4pPr>
            <a:lvl5pPr>
              <a:defRPr lang="en-US" sz="1200" dirty="0">
                <a:solidFill>
                  <a:schemeClr val="accent2"/>
                </a:solidFill>
              </a:defRPr>
            </a:lvl5pPr>
          </a:lstStyle>
          <a:p>
            <a:pPr lvl="0">
              <a:spcBef>
                <a:spcPts val="1200"/>
              </a:spcBef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1213" y="1600200"/>
            <a:ext cx="8229600" cy="4572000"/>
          </a:xfrm>
        </p:spPr>
        <p:txBody>
          <a:bodyPr vert="horz" lIns="0" tIns="45720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270000" lvl="5" indent="-117475"/>
            <a:r>
              <a:rPr lang="en-US"/>
              <a:t>Sixth level</a:t>
            </a:r>
          </a:p>
          <a:p>
            <a:pPr marL="1438275" lvl="6" indent="-117475"/>
            <a:r>
              <a:rPr lang="en-US"/>
              <a:t>Seventh level</a:t>
            </a:r>
          </a:p>
          <a:p>
            <a:pPr marL="1554163" lvl="7" indent="-115888">
              <a:lnSpc>
                <a:spcPct val="90000"/>
              </a:lnSpc>
            </a:pPr>
            <a:r>
              <a:rPr lang="en-US"/>
              <a:t>Nineth level</a:t>
            </a:r>
          </a:p>
        </p:txBody>
      </p:sp>
      <p:sp>
        <p:nvSpPr>
          <p:cNvPr id="8" name="page number">
            <a:extLst>
              <a:ext uri="{FF2B5EF4-FFF2-40B4-BE49-F238E27FC236}">
                <a16:creationId xmlns:a16="http://schemas.microsoft.com/office/drawing/2014/main" id="{1A93E906-C928-C345-B032-1F5C677FAEDD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4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Two-content Layout – Highlight Text on Right, Text/Graphic on Left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013" y="1600200"/>
            <a:ext cx="8229600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/>
              <a:t>Click to add graph, diagram o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e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2C22B1-5B53-F148-8D4A-31CCDD16E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9285149" y="1589924"/>
            <a:ext cx="2903676" cy="609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4813" y="1644788"/>
            <a:ext cx="2894012" cy="4527411"/>
          </a:xfrm>
          <a:solidFill>
            <a:srgbClr val="F4F8FA"/>
          </a:solidFill>
        </p:spPr>
        <p:txBody>
          <a:bodyPr vert="horz" lIns="457200" tIns="457200" rIns="457200" bIns="457200" rtlCol="0">
            <a:noAutofit/>
          </a:bodyPr>
          <a:lstStyle>
            <a:lvl1pPr>
              <a:defRPr lang="en-US" sz="1800" dirty="0">
                <a:solidFill>
                  <a:schemeClr val="accent2"/>
                </a:solidFill>
              </a:defRPr>
            </a:lvl1pPr>
            <a:lvl2pPr>
              <a:defRPr lang="en-US" sz="1600" dirty="0">
                <a:solidFill>
                  <a:schemeClr val="accent2"/>
                </a:solidFill>
              </a:defRPr>
            </a:lvl2pPr>
            <a:lvl3pPr>
              <a:defRPr lang="en-US" sz="1400" dirty="0">
                <a:solidFill>
                  <a:schemeClr val="accent2"/>
                </a:solidFill>
              </a:defRPr>
            </a:lvl3pPr>
            <a:lvl4pPr>
              <a:defRPr lang="en-US" sz="1200" dirty="0">
                <a:solidFill>
                  <a:schemeClr val="accent2"/>
                </a:solidFill>
              </a:defRPr>
            </a:lvl4pPr>
            <a:lvl5pPr>
              <a:defRPr lang="en-US" sz="1200" dirty="0">
                <a:solidFill>
                  <a:schemeClr val="accent2"/>
                </a:solidFill>
              </a:defRPr>
            </a:lvl5pPr>
          </a:lstStyle>
          <a:p>
            <a:pPr lvl="0">
              <a:spcBef>
                <a:spcPts val="1200"/>
              </a:spcBef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 number">
            <a:extLst>
              <a:ext uri="{FF2B5EF4-FFF2-40B4-BE49-F238E27FC236}">
                <a16:creationId xmlns:a16="http://schemas.microsoft.com/office/drawing/2014/main" id="{EA3FFB13-8625-D245-BD64-AAC7CCCB5B6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65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Diagram with Content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73A8AFF7-683B-9045-8B6E-5867DABAE588}"/>
              </a:ext>
            </a:extLst>
          </p:cNvPr>
          <p:cNvSpPr>
            <a:spLocks noGrp="1"/>
          </p:cNvSpPr>
          <p:nvPr>
            <p:ph sz="quarter" idx="14"/>
          </p:nvPr>
        </p:nvSpPr>
        <p:spPr bwMode="ltGray">
          <a:xfrm>
            <a:off x="595424" y="1600201"/>
            <a:ext cx="7410892" cy="4572000"/>
          </a:xfrm>
          <a:noFill/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rgbClr val="F4F8FA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E2C737-3A4D-924A-88B5-FA4D5C8A0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8380072" y="1589923"/>
            <a:ext cx="3808754" cy="8261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00200"/>
            <a:ext cx="3808412" cy="4572000"/>
          </a:xfrm>
        </p:spPr>
        <p:txBody>
          <a:bodyPr tIns="457200" rIns="594360" bIns="4572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page number">
            <a:extLst>
              <a:ext uri="{FF2B5EF4-FFF2-40B4-BE49-F238E27FC236}">
                <a16:creationId xmlns:a16="http://schemas.microsoft.com/office/drawing/2014/main" id="{0D34A4A0-0C07-994F-9539-A07F4B06F18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10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Outcome,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/>
              <a:t>Diagram with Outcome/Benefit Content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DAEEA46F-682F-5A4F-8E4D-B4CA754E0724}"/>
              </a:ext>
            </a:extLst>
          </p:cNvPr>
          <p:cNvSpPr>
            <a:spLocks noGrp="1"/>
          </p:cNvSpPr>
          <p:nvPr>
            <p:ph sz="quarter" idx="14"/>
          </p:nvPr>
        </p:nvSpPr>
        <p:spPr bwMode="ltGray">
          <a:xfrm>
            <a:off x="595424" y="1600201"/>
            <a:ext cx="7410892" cy="4572000"/>
          </a:xfrm>
          <a:noFill/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rgbClr val="F4F8FA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endParaRPr lang="en-US"/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8380413" y="1608668"/>
            <a:ext cx="3808412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0413" y="1699688"/>
            <a:ext cx="2006600" cy="298450"/>
          </a:xfrm>
        </p:spPr>
        <p:txBody>
          <a:bodyPr anchor="b"/>
          <a:lstStyle>
            <a:lvl1pPr>
              <a:defRPr sz="18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Outco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825" y="2063048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8380413" y="3872441"/>
            <a:ext cx="3808412" cy="0"/>
          </a:xfrm>
          <a:prstGeom prst="line">
            <a:avLst/>
          </a:prstGeom>
          <a:ln w="25400">
            <a:solidFill>
              <a:schemeClr val="accent5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0413" y="3972469"/>
            <a:ext cx="2006600" cy="298450"/>
          </a:xfrm>
        </p:spPr>
        <p:txBody>
          <a:bodyPr anchor="b"/>
          <a:lstStyle>
            <a:lvl1pPr>
              <a:defRPr sz="1800">
                <a:solidFill>
                  <a:schemeClr val="accent5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Benefi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825" y="4347904"/>
            <a:ext cx="3201988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page number">
            <a:extLst>
              <a:ext uri="{FF2B5EF4-FFF2-40B4-BE49-F238E27FC236}">
                <a16:creationId xmlns:a16="http://schemas.microsoft.com/office/drawing/2014/main" id="{2520CB7B-27A1-0749-95BA-681D8A0535D2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25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592948" y="1582578"/>
            <a:ext cx="4996403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/>
              <a:t>Title Slide - Aqua &amp; Ocean Color Theme</a:t>
            </a:r>
          </a:p>
        </p:txBody>
      </p:sp>
      <p:sp>
        <p:nvSpPr>
          <p:cNvPr id="128" name="Subtitle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2948" y="2867279"/>
            <a:ext cx="5116452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14" name="Click to edit Speaker Name ">
            <a:extLst>
              <a:ext uri="{FF2B5EF4-FFF2-40B4-BE49-F238E27FC236}">
                <a16:creationId xmlns:a16="http://schemas.microsoft.com/office/drawing/2014/main" id="{179DB1F6-DFFE-5E43-994F-B7DBFB112C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2948" y="4737425"/>
            <a:ext cx="5402202" cy="35560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 lang="en-US" sz="1600" b="0" i="0" u="none" strike="noStrike" smtClean="0"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Speaker Name (Insert pronouns)</a:t>
            </a:r>
          </a:p>
        </p:txBody>
      </p:sp>
      <p:sp>
        <p:nvSpPr>
          <p:cNvPr id="15" name="Click to edit role">
            <a:extLst>
              <a:ext uri="{FF2B5EF4-FFF2-40B4-BE49-F238E27FC236}">
                <a16:creationId xmlns:a16="http://schemas.microsoft.com/office/drawing/2014/main" id="{6C710D35-A62F-6545-8876-C6793E801C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2948" y="5117480"/>
            <a:ext cx="5402202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ole / Division at VMware</a:t>
            </a:r>
          </a:p>
        </p:txBody>
      </p:sp>
      <p:sp>
        <p:nvSpPr>
          <p:cNvPr id="17" name="Click to edit role">
            <a:extLst>
              <a:ext uri="{FF2B5EF4-FFF2-40B4-BE49-F238E27FC236}">
                <a16:creationId xmlns:a16="http://schemas.microsoft.com/office/drawing/2014/main" id="{B7F8A130-4773-4943-B490-D62738C508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2948" y="5485986"/>
            <a:ext cx="5402202" cy="355601"/>
          </a:xfrm>
        </p:spPr>
        <p:txBody>
          <a:bodyPr/>
          <a:lstStyle>
            <a:lvl1pPr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3" name="parallelogram graphics">
            <a:extLst>
              <a:ext uri="{FF2B5EF4-FFF2-40B4-BE49-F238E27FC236}">
                <a16:creationId xmlns:a16="http://schemas.microsoft.com/office/drawing/2014/main" id="{0A9844F3-FFD1-7B47-8E20-3B1B8C9D30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88217" y="1084671"/>
            <a:ext cx="9623529" cy="5494609"/>
            <a:chOff x="-1488217" y="1084671"/>
            <a:chExt cx="9623529" cy="5494609"/>
          </a:xfrm>
        </p:grpSpPr>
        <p:sp>
          <p:nvSpPr>
            <p:cNvPr id="35" name="Freeform 34" title="gradient decorative shape">
              <a:extLst>
                <a:ext uri="{FF2B5EF4-FFF2-40B4-BE49-F238E27FC236}">
                  <a16:creationId xmlns:a16="http://schemas.microsoft.com/office/drawing/2014/main" id="{FC6E33BE-E922-E74A-8DF9-693000E673D6}"/>
                </a:ext>
              </a:extLst>
            </p:cNvPr>
            <p:cNvSpPr/>
            <p:nvPr userDrawn="1"/>
          </p:nvSpPr>
          <p:spPr>
            <a:xfrm rot="2700000">
              <a:off x="2061554" y="1519285"/>
              <a:ext cx="2801109" cy="7318881"/>
            </a:xfrm>
            <a:custGeom>
              <a:avLst/>
              <a:gdLst>
                <a:gd name="connsiteX0" fmla="*/ 0 w 2801109"/>
                <a:gd name="connsiteY0" fmla="*/ 0 h 7318881"/>
                <a:gd name="connsiteX1" fmla="*/ 2801109 w 2801109"/>
                <a:gd name="connsiteY1" fmla="*/ 0 h 7318881"/>
                <a:gd name="connsiteX2" fmla="*/ 2801109 w 2801109"/>
                <a:gd name="connsiteY2" fmla="*/ 4642648 h 7318881"/>
                <a:gd name="connsiteX3" fmla="*/ 163834 w 2801109"/>
                <a:gd name="connsiteY3" fmla="*/ 7318881 h 7318881"/>
                <a:gd name="connsiteX4" fmla="*/ 0 w 2801109"/>
                <a:gd name="connsiteY4" fmla="*/ 7155046 h 731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1109" h="7318881">
                  <a:moveTo>
                    <a:pt x="0" y="0"/>
                  </a:moveTo>
                  <a:lnTo>
                    <a:pt x="2801109" y="0"/>
                  </a:lnTo>
                  <a:lnTo>
                    <a:pt x="2801109" y="4642648"/>
                  </a:lnTo>
                  <a:lnTo>
                    <a:pt x="163834" y="7318881"/>
                  </a:lnTo>
                  <a:lnTo>
                    <a:pt x="0" y="7155046"/>
                  </a:lnTo>
                  <a:close/>
                </a:path>
              </a:pathLst>
            </a:custGeom>
            <a:gradFill>
              <a:gsLst>
                <a:gs pos="25000">
                  <a:schemeClr val="bg1">
                    <a:alpha val="0"/>
                  </a:schemeClr>
                </a:gs>
                <a:gs pos="72000">
                  <a:schemeClr val="accent1"/>
                </a:gs>
              </a:gsLst>
              <a:lin ang="42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Freeform 33" title="gradient decorative shape">
              <a:extLst>
                <a:ext uri="{FF2B5EF4-FFF2-40B4-BE49-F238E27FC236}">
                  <a16:creationId xmlns:a16="http://schemas.microsoft.com/office/drawing/2014/main" id="{02065BB3-0DD8-1442-A077-9B671C2CD52B}"/>
                </a:ext>
              </a:extLst>
            </p:cNvPr>
            <p:cNvSpPr/>
            <p:nvPr userDrawn="1"/>
          </p:nvSpPr>
          <p:spPr>
            <a:xfrm rot="2700000">
              <a:off x="1987453" y="-2390999"/>
              <a:ext cx="2672190" cy="9623529"/>
            </a:xfrm>
            <a:custGeom>
              <a:avLst/>
              <a:gdLst>
                <a:gd name="connsiteX0" fmla="*/ 0 w 2672190"/>
                <a:gd name="connsiteY0" fmla="*/ 2669635 h 9623529"/>
                <a:gd name="connsiteX1" fmla="*/ 2669635 w 2672190"/>
                <a:gd name="connsiteY1" fmla="*/ 0 h 9623529"/>
                <a:gd name="connsiteX2" fmla="*/ 2669635 w 2672190"/>
                <a:gd name="connsiteY2" fmla="*/ 8389488 h 9623529"/>
                <a:gd name="connsiteX3" fmla="*/ 2671345 w 2672190"/>
                <a:gd name="connsiteY3" fmla="*/ 8407448 h 9623529"/>
                <a:gd name="connsiteX4" fmla="*/ 2671258 w 2672190"/>
                <a:gd name="connsiteY4" fmla="*/ 9386208 h 9623529"/>
                <a:gd name="connsiteX5" fmla="*/ 1437129 w 2672190"/>
                <a:gd name="connsiteY5" fmla="*/ 9623529 h 9623529"/>
                <a:gd name="connsiteX6" fmla="*/ 0 w 2672190"/>
                <a:gd name="connsiteY6" fmla="*/ 8186399 h 962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2190" h="9623529">
                  <a:moveTo>
                    <a:pt x="0" y="2669635"/>
                  </a:moveTo>
                  <a:lnTo>
                    <a:pt x="2669635" y="0"/>
                  </a:lnTo>
                  <a:lnTo>
                    <a:pt x="2669635" y="8389488"/>
                  </a:lnTo>
                  <a:lnTo>
                    <a:pt x="2671345" y="8407448"/>
                  </a:lnTo>
                  <a:cubicBezTo>
                    <a:pt x="2674309" y="8739688"/>
                    <a:pt x="2668294" y="9053968"/>
                    <a:pt x="2671258" y="9386208"/>
                  </a:cubicBezTo>
                  <a:lnTo>
                    <a:pt x="1437129" y="9623529"/>
                  </a:lnTo>
                  <a:lnTo>
                    <a:pt x="0" y="8186399"/>
                  </a:lnTo>
                  <a:close/>
                </a:path>
              </a:pathLst>
            </a:custGeom>
            <a:gradFill>
              <a:gsLst>
                <a:gs pos="33000">
                  <a:schemeClr val="accent3"/>
                </a:gs>
                <a:gs pos="78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2" name="VMware logo">
            <a:extLst>
              <a:ext uri="{FF2B5EF4-FFF2-40B4-BE49-F238E27FC236}">
                <a16:creationId xmlns:a16="http://schemas.microsoft.com/office/drawing/2014/main" id="{204DE4A6-6232-5642-BD28-F03961ABC6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5185"/>
            <a:ext cx="1535550" cy="556262"/>
          </a:xfrm>
          <a:prstGeom prst="rect">
            <a:avLst/>
          </a:prstGeom>
        </p:spPr>
      </p:pic>
      <p:sp>
        <p:nvSpPr>
          <p:cNvPr id="13" name="Copyright" descr="Confidential copyright VMware, Inc. 2021">
            <a:extLst>
              <a:ext uri="{FF2B5EF4-FFF2-40B4-BE49-F238E27FC236}">
                <a16:creationId xmlns:a16="http://schemas.microsoft.com/office/drawing/2014/main" id="{67A12218-5F19-AB45-AFB4-EED5DBCA22CD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306388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1">
            <a:extLst>
              <a:ext uri="{FF2B5EF4-FFF2-40B4-BE49-F238E27FC236}">
                <a16:creationId xmlns:a16="http://schemas.microsoft.com/office/drawing/2014/main" id="{05E46EAA-9D16-0D47-AF18-92C44903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809" y="412751"/>
            <a:ext cx="11001004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ustomer Success – add Company Name here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CEFD99AC-6466-F04E-8E45-7EEEEA01B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he highlighted business impac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4F46384-B6E3-0D43-924E-874DEC23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1552248"/>
            <a:ext cx="3471746" cy="0"/>
          </a:xfrm>
          <a:prstGeom prst="line">
            <a:avLst/>
          </a:prstGeom>
          <a:ln w="22225">
            <a:solidFill>
              <a:schemeClr val="accent5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40CB7868-5ADF-4E42-9BA5-758DD5ADEB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093" y="1564006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5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ABOUT</a:t>
            </a:r>
          </a:p>
        </p:txBody>
      </p:sp>
      <p:sp>
        <p:nvSpPr>
          <p:cNvPr id="50" name="Content Placeholder 17">
            <a:extLst>
              <a:ext uri="{FF2B5EF4-FFF2-40B4-BE49-F238E27FC236}">
                <a16:creationId xmlns:a16="http://schemas.microsoft.com/office/drawing/2014/main" id="{767C0863-B9D1-344E-A978-CD49E9400F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645" y="1901093"/>
            <a:ext cx="3201848" cy="1214595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3526770-8F35-FB4A-8638-521D0DA87F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412165" y="1552248"/>
            <a:ext cx="3471746" cy="0"/>
          </a:xfrm>
          <a:prstGeom prst="line">
            <a:avLst/>
          </a:prstGeom>
          <a:ln w="22225">
            <a:solidFill>
              <a:schemeClr val="accent5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6">
            <a:extLst>
              <a:ext uri="{FF2B5EF4-FFF2-40B4-BE49-F238E27FC236}">
                <a16:creationId xmlns:a16="http://schemas.microsoft.com/office/drawing/2014/main" id="{5A3D06D5-FD3F-BA4E-8627-B3D253D001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18012" y="1564006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5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47" name="Content Placeholder 17">
            <a:extLst>
              <a:ext uri="{FF2B5EF4-FFF2-40B4-BE49-F238E27FC236}">
                <a16:creationId xmlns:a16="http://schemas.microsoft.com/office/drawing/2014/main" id="{A2B343CF-FF49-7E4F-A7C9-0593553254F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14210" y="1901094"/>
            <a:ext cx="3201848" cy="122556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3C08A52-2522-8C40-B8B1-C98FEBB888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3325372"/>
            <a:ext cx="3471746" cy="0"/>
          </a:xfrm>
          <a:prstGeom prst="line">
            <a:avLst/>
          </a:prstGeom>
          <a:ln w="22225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68B03587-93C7-A44F-A27D-84877C6A91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093" y="3345364"/>
            <a:ext cx="2006600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HALLENGES</a:t>
            </a:r>
          </a:p>
        </p:txBody>
      </p:sp>
      <p:sp>
        <p:nvSpPr>
          <p:cNvPr id="48" name="Content Placeholder 17">
            <a:extLst>
              <a:ext uri="{FF2B5EF4-FFF2-40B4-BE49-F238E27FC236}">
                <a16:creationId xmlns:a16="http://schemas.microsoft.com/office/drawing/2014/main" id="{65BA7F3E-AD8D-A54C-B026-DAA8FC9C054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645" y="3693430"/>
            <a:ext cx="3201848" cy="1110049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B57CCC6-06B1-7342-99B0-BC7C8FBE5E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412165" y="3325372"/>
            <a:ext cx="3471746" cy="0"/>
          </a:xfrm>
          <a:prstGeom prst="line">
            <a:avLst/>
          </a:prstGeom>
          <a:ln w="22225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33">
            <a:extLst>
              <a:ext uri="{FF2B5EF4-FFF2-40B4-BE49-F238E27FC236}">
                <a16:creationId xmlns:a16="http://schemas.microsoft.com/office/drawing/2014/main" id="{12DEAF9A-D0A2-3A4B-B37B-FD530909C5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6811" y="3345364"/>
            <a:ext cx="2006600" cy="227454"/>
          </a:xfrm>
        </p:spPr>
        <p:txBody>
          <a:bodyPr anchor="b" anchorCtr="0"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IMPACT</a:t>
            </a:r>
          </a:p>
        </p:txBody>
      </p:sp>
      <p:sp>
        <p:nvSpPr>
          <p:cNvPr id="46" name="Content Placeholder 17">
            <a:extLst>
              <a:ext uri="{FF2B5EF4-FFF2-40B4-BE49-F238E27FC236}">
                <a16:creationId xmlns:a16="http://schemas.microsoft.com/office/drawing/2014/main" id="{3265790D-1104-8D4D-A8C6-F7A7E77F664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14210" y="3693430"/>
            <a:ext cx="3201848" cy="113235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3C87E7C-5ED2-214E-8A38-ED05177A65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8739" y="5023689"/>
            <a:ext cx="7319778" cy="0"/>
          </a:xfrm>
          <a:prstGeom prst="line">
            <a:avLst/>
          </a:prstGeom>
          <a:ln w="22225">
            <a:solidFill>
              <a:schemeClr val="tx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EF15C3B0-3307-FF46-8C6D-16907986554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3" y="5026984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S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F0EFE66F-363C-804E-BABD-F54C3E33FDE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093" y="5326736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On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0166C751-50F5-8B4F-9A97-B83901E78B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093" y="5576118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Two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0D57825D-E522-644D-8F4A-0B77A7036EB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3" y="5807027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Three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715C6E1C-FC70-6A4E-8F12-8EFEDFF99F5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93597" y="5039274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STRATEGIC PRIORITIES</a:t>
            </a: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EBAAD5C6-0007-A84B-A2C2-FCC2F00B42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00790" y="5327336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One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A8B7A6ED-D85B-2E4C-BCD6-D130232A3F7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00790" y="5576718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Two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C507BC1F-4225-8C48-9110-5D75D900FFC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00790" y="5807627"/>
            <a:ext cx="3200400" cy="227454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Product Three</a:t>
            </a:r>
          </a:p>
        </p:txBody>
      </p:sp>
      <p:sp>
        <p:nvSpPr>
          <p:cNvPr id="45" name="Picture Placeholder 8">
            <a:extLst>
              <a:ext uri="{FF2B5EF4-FFF2-40B4-BE49-F238E27FC236}">
                <a16:creationId xmlns:a16="http://schemas.microsoft.com/office/drawing/2014/main" id="{231A51E8-5046-A444-8DFA-A0B8E647C4F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07965" y="1600200"/>
            <a:ext cx="184150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Insert Logo her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1E8E56D-8554-4E46-BBBC-E98827D1EE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09465" y="2347933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59903D24-0D11-174E-9765-B2914D00A8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09465" y="2647290"/>
            <a:ext cx="3206750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42" name="Picture Placeholder 5">
            <a:extLst>
              <a:ext uri="{FF2B5EF4-FFF2-40B4-BE49-F238E27FC236}">
                <a16:creationId xmlns:a16="http://schemas.microsoft.com/office/drawing/2014/main" id="{2EDE5296-3D34-0C47-A404-38FF5A22C6D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515815" y="2971800"/>
            <a:ext cx="3194050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C7B1EDB8-ADF5-9C41-B4C4-26AA9C0B9D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15815" y="5022214"/>
            <a:ext cx="3200400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5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page number">
            <a:extLst>
              <a:ext uri="{FF2B5EF4-FFF2-40B4-BE49-F238E27FC236}">
                <a16:creationId xmlns:a16="http://schemas.microsoft.com/office/drawing/2014/main" id="{CB20449E-0760-3743-8E7C-7D6BA7165F7F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48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 Icon Placeholders with Text Description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981877" y="2055429"/>
            <a:ext cx="1828959" cy="1828959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3C9F48F-8CFB-DD45-AE7E-6A5DE26F95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88103" y="2419650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590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plum text her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184924" y="2055429"/>
            <a:ext cx="1828959" cy="1828959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4DBEFEC-821B-4F4E-8D5E-E6843BF1AE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8612" y="2419650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225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ocean text her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8389301" y="2055429"/>
            <a:ext cx="1828959" cy="182895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3213" y="4267940"/>
            <a:ext cx="2744788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add indigo text her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545A424-E307-E14F-A89B-1A531D114F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09012" y="2419650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19" name="page number">
            <a:extLst>
              <a:ext uri="{FF2B5EF4-FFF2-40B4-BE49-F238E27FC236}">
                <a16:creationId xmlns:a16="http://schemas.microsoft.com/office/drawing/2014/main" id="{6122FC91-666D-7A42-9D21-9800CF4E3706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66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ur Icon Placeholders with Text Description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65749" y="2060872"/>
            <a:ext cx="1828959" cy="1828959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72EA9D9-DD59-0A4A-94D5-AC136E79CD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73703" y="2425093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67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plum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806932" y="2060872"/>
            <a:ext cx="1828959" cy="1828959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7F1E977-D1E8-7040-8576-578BD8CB84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00597" y="2425093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798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ocea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562100" y="2060872"/>
            <a:ext cx="1828959" cy="182895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B608689-50E6-784F-8AFD-D13D124BAA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2120" y="2425093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30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indigo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302132" y="2060872"/>
            <a:ext cx="1828959" cy="1828959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90217BC-3881-DF41-A8F3-900AF04F1B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38248" y="2425093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6213" y="4269508"/>
            <a:ext cx="22860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Click to add dark gree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page number">
            <a:extLst>
              <a:ext uri="{FF2B5EF4-FFF2-40B4-BE49-F238E27FC236}">
                <a16:creationId xmlns:a16="http://schemas.microsoft.com/office/drawing/2014/main" id="{1D45AB97-9B77-2244-B7BA-E18EA4CD43EA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76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ive Icon Placeholders with Text Descriptions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609800" y="2064663"/>
            <a:ext cx="1828959" cy="1828959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3C6552-FD35-F64A-AB25-15819DA5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0549" y="2428884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50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plum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2892452" y="2064663"/>
            <a:ext cx="1828959" cy="1828959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390E06-1436-004E-875E-AAE40E05D7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10473" y="2428884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ocea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201380" y="2064663"/>
            <a:ext cx="1828959" cy="182895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54AA791-D396-204E-9DF4-50E16614D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12658" y="2428884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509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indigo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464921" y="2064663"/>
            <a:ext cx="1828959" cy="1828959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673B6CF-B10C-8742-A91F-672EAD5163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7080" y="2428884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0001" y="4282873"/>
            <a:ext cx="189433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dark gree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9744473" y="2064663"/>
            <a:ext cx="1828959" cy="1828959"/>
          </a:xfrm>
          <a:prstGeom prst="ellipse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F3DA55F-C9CF-8945-A9DE-F606579BFE2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80612" y="2428884"/>
            <a:ext cx="1396669" cy="1100516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add icon</a:t>
            </a:r>
            <a:br>
              <a:rPr lang="en-US"/>
            </a:br>
            <a:r>
              <a:rPr lang="en-US"/>
              <a:t>or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2013" y="4282873"/>
            <a:ext cx="1828800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Click to add gra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6D94DD40-25D8-6A48-98B5-B2B0FB64FDAB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21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Numbere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ive Column Text with Number Icons 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82EA033-41AE-6148-A260-889FF59E41C9}"/>
              </a:ext>
            </a:extLst>
          </p:cNvPr>
          <p:cNvCxnSpPr/>
          <p:nvPr userDrawn="1"/>
        </p:nvCxnSpPr>
        <p:spPr bwMode="gray">
          <a:xfrm>
            <a:off x="598206" y="2512464"/>
            <a:ext cx="1828800" cy="0"/>
          </a:xfrm>
          <a:prstGeom prst="line">
            <a:avLst/>
          </a:prstGeom>
          <a:ln w="25400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0850" y="2529075"/>
            <a:ext cx="1828800" cy="2871263"/>
          </a:xfrm>
          <a:solidFill>
            <a:srgbClr val="F4F8FA"/>
          </a:solidFill>
          <a:ln>
            <a:noFill/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endParaRPr lang="en-US"/>
          </a:p>
          <a:p>
            <a:pPr lvl="0"/>
            <a:r>
              <a:rPr lang="en-US"/>
              <a:t>Click to add plum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341DC-DE80-5E4C-A4C9-C984D7074760}"/>
              </a:ext>
            </a:extLst>
          </p:cNvPr>
          <p:cNvCxnSpPr/>
          <p:nvPr userDrawn="1"/>
        </p:nvCxnSpPr>
        <p:spPr bwMode="gray">
          <a:xfrm>
            <a:off x="2894012" y="2512464"/>
            <a:ext cx="1828800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013" y="2529075"/>
            <a:ext cx="1828800" cy="2871263"/>
          </a:xfrm>
          <a:solidFill>
            <a:srgbClr val="F4F8FA"/>
          </a:solidFill>
          <a:ln>
            <a:noFill/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endParaRPr lang="en-US"/>
          </a:p>
          <a:p>
            <a:pPr lvl="0"/>
            <a:r>
              <a:rPr lang="en-US"/>
              <a:t>Click to add ocean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62FF207-1B75-1940-91E1-2692254C727F}"/>
              </a:ext>
            </a:extLst>
          </p:cNvPr>
          <p:cNvCxnSpPr/>
          <p:nvPr userDrawn="1"/>
        </p:nvCxnSpPr>
        <p:spPr bwMode="gray">
          <a:xfrm>
            <a:off x="5180012" y="2512464"/>
            <a:ext cx="1828800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5093" y="2529075"/>
            <a:ext cx="1828800" cy="2871263"/>
          </a:xfrm>
          <a:solidFill>
            <a:srgbClr val="F4F8FA"/>
          </a:solidFill>
          <a:ln>
            <a:noFill/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endParaRPr lang="en-US"/>
          </a:p>
          <a:p>
            <a:pPr lvl="0"/>
            <a:r>
              <a:rPr lang="en-US"/>
              <a:t>Click to add indigo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28E238A-DE09-DD4F-A6F3-2F244E7301C3}"/>
              </a:ext>
            </a:extLst>
          </p:cNvPr>
          <p:cNvCxnSpPr/>
          <p:nvPr userDrawn="1"/>
        </p:nvCxnSpPr>
        <p:spPr bwMode="gray">
          <a:xfrm>
            <a:off x="7466012" y="2512464"/>
            <a:ext cx="1828800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0001" y="2529075"/>
            <a:ext cx="1828800" cy="2871263"/>
          </a:xfrm>
          <a:solidFill>
            <a:srgbClr val="F4F8FA"/>
          </a:solidFill>
          <a:ln>
            <a:noFill/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endParaRPr lang="en-US"/>
          </a:p>
          <a:p>
            <a:pPr lvl="0"/>
            <a:r>
              <a:rPr lang="en-US"/>
              <a:t>Click to add </a:t>
            </a:r>
            <a:r>
              <a:rPr lang="en-US" err="1"/>
              <a:t>drk</a:t>
            </a:r>
            <a:r>
              <a:rPr lang="en-US"/>
              <a:t> green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B64954-CA3A-494E-B70D-3405C9F592D8}"/>
              </a:ext>
            </a:extLst>
          </p:cNvPr>
          <p:cNvCxnSpPr/>
          <p:nvPr userDrawn="1"/>
        </p:nvCxnSpPr>
        <p:spPr bwMode="gray">
          <a:xfrm>
            <a:off x="9752012" y="2512464"/>
            <a:ext cx="1828800" cy="0"/>
          </a:xfrm>
          <a:prstGeom prst="line">
            <a:avLst/>
          </a:prstGeom>
          <a:ln w="2540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013" y="2529075"/>
            <a:ext cx="1828800" cy="2871263"/>
          </a:xfrm>
          <a:solidFill>
            <a:srgbClr val="F4F8FA"/>
          </a:solidFill>
          <a:ln>
            <a:noFill/>
          </a:ln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endParaRPr lang="en-US"/>
          </a:p>
          <a:p>
            <a:pPr lvl="0"/>
            <a:r>
              <a:rPr lang="en-US"/>
              <a:t>Click to add gra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778B9E91-325F-BB46-BB33-20219DF70C9B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F6B89BA-DE17-014A-9ED8-790359ADE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131007" y="2006791"/>
            <a:ext cx="788487" cy="788487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accent5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B0E1473-AF0F-7C48-8FAF-3848C1B61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3414170" y="2006791"/>
            <a:ext cx="788487" cy="788487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>
                <a:solidFill>
                  <a:schemeClr val="accent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609A2D8-18F0-8A47-BD8C-DD1AF0B615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5705250" y="2006791"/>
            <a:ext cx="788487" cy="788487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>
                <a:solidFill>
                  <a:schemeClr val="accent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4E1A06A-E5D9-064B-85F4-74B463C7BD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7990158" y="2006791"/>
            <a:ext cx="788487" cy="788487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>
                <a:solidFill>
                  <a:schemeClr val="accent6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7824627-50AB-F94E-9519-EADC5841F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0272170" y="2006791"/>
            <a:ext cx="788487" cy="788487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1"/>
                </a:solidFill>
                <a:latin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2460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ample Chart Layout for Text – Click to Add a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5" name="Text Placeholder 3" descr="Row 1 label">
            <a:extLst>
              <a:ext uri="{FF2B5EF4-FFF2-40B4-BE49-F238E27FC236}">
                <a16:creationId xmlns:a16="http://schemas.microsoft.com/office/drawing/2014/main" id="{7077ED63-7149-B64F-804C-21E2E59DF7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1464" y="1546789"/>
            <a:ext cx="574570" cy="439174"/>
          </a:xfrm>
          <a:solidFill>
            <a:schemeClr val="bg1"/>
          </a:solidFill>
          <a:ln w="12700">
            <a:noFill/>
          </a:ln>
        </p:spPr>
        <p:txBody>
          <a:bodyPr tIns="9144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3" descr="Row 1 text box is a long horizontal box the width of the slide acting as a header. ">
            <a:extLst>
              <a:ext uri="{FF2B5EF4-FFF2-40B4-BE49-F238E27FC236}">
                <a16:creationId xmlns:a16="http://schemas.microsoft.com/office/drawing/2014/main" id="{03CB2304-DD0F-674C-91F7-863CDF3757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34040" y="1561701"/>
            <a:ext cx="10630969" cy="429469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tIns="9144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" descr="Row 2 label; this row shows 4 content boxes labeled A through D, each is a different color and holds text.">
            <a:extLst>
              <a:ext uri="{FF2B5EF4-FFF2-40B4-BE49-F238E27FC236}">
                <a16:creationId xmlns:a16="http://schemas.microsoft.com/office/drawing/2014/main" id="{3E62FD32-E978-1A49-AA98-60CD14AE003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5750" y="3304775"/>
            <a:ext cx="560283" cy="658026"/>
          </a:xfrm>
          <a:solidFill>
            <a:schemeClr val="bg1"/>
          </a:solidFill>
          <a:ln w="12700">
            <a:noFill/>
          </a:ln>
        </p:spPr>
        <p:txBody>
          <a:bodyPr tIns="9144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E322B01-8AA4-6B48-98B8-90F64F16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gray">
          <a:xfrm>
            <a:off x="1093076" y="2680138"/>
            <a:ext cx="2459421" cy="0"/>
          </a:xfrm>
          <a:prstGeom prst="line">
            <a:avLst/>
          </a:prstGeom>
          <a:ln w="25400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 descr="Row 2, box 1: text in plum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2407" y="2699834"/>
            <a:ext cx="2430126" cy="1949198"/>
          </a:xfrm>
          <a:noFill/>
          <a:ln w="15875">
            <a:noFill/>
          </a:ln>
        </p:spPr>
        <p:txBody>
          <a:bodyPr tIns="36576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AEFB321-2C32-7945-A5C9-A9F00AE588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gray">
          <a:xfrm>
            <a:off x="3808412" y="2680138"/>
            <a:ext cx="2459421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 descr="Row 2, box 2: text in ocean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6081" y="2699834"/>
            <a:ext cx="2430126" cy="1949198"/>
          </a:xfrm>
          <a:noFill/>
          <a:ln w="15875">
            <a:noFill/>
          </a:ln>
        </p:spPr>
        <p:txBody>
          <a:bodyPr tIns="36576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5C97932-042E-C845-9300-586CA61AB8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gray">
          <a:xfrm>
            <a:off x="6551612" y="2680138"/>
            <a:ext cx="2459421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 descr="Row 2, box 3: text in indigo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29754" y="2699834"/>
            <a:ext cx="2477611" cy="1949198"/>
          </a:xfrm>
          <a:noFill/>
          <a:ln w="15875">
            <a:noFill/>
          </a:ln>
        </p:spPr>
        <p:txBody>
          <a:bodyPr tIns="365760"/>
          <a:lstStyle>
            <a:lvl1pPr algn="ctr">
              <a:lnSpc>
                <a:spcPct val="100000"/>
              </a:lnSpc>
              <a:spcBef>
                <a:spcPts val="600"/>
              </a:spcBef>
              <a:defRPr sz="18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68A42CD-A1AD-9149-80A3-4BFE5D75E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gray">
          <a:xfrm>
            <a:off x="9229123" y="2680138"/>
            <a:ext cx="2459421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 descr="Row 2, box 4: text in dark green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43428" y="2699834"/>
            <a:ext cx="2454586" cy="1949198"/>
          </a:xfrm>
          <a:noFill/>
          <a:ln w="15875">
            <a:noFill/>
          </a:ln>
        </p:spPr>
        <p:txBody>
          <a:bodyPr tIns="36576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3" descr="Row 3 label: this row shows six, small content boxes in a horiztonal row">
            <a:extLst>
              <a:ext uri="{FF2B5EF4-FFF2-40B4-BE49-F238E27FC236}">
                <a16:creationId xmlns:a16="http://schemas.microsoft.com/office/drawing/2014/main" id="{EF286E42-C44A-274D-B9C1-D21F1AD1DE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00038" y="5065521"/>
            <a:ext cx="545995" cy="658026"/>
          </a:xfrm>
          <a:solidFill>
            <a:schemeClr val="bg1"/>
          </a:solidFill>
          <a:ln w="12700">
            <a:noFill/>
          </a:ln>
        </p:spPr>
        <p:txBody>
          <a:bodyPr tIns="91440"/>
          <a:lstStyle>
            <a:lvl1pPr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400"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 descr="Row 3, text box 1">
            <a:extLst>
              <a:ext uri="{FF2B5EF4-FFF2-40B4-BE49-F238E27FC236}">
                <a16:creationId xmlns:a16="http://schemas.microsoft.com/office/drawing/2014/main" id="{828E38C7-4E21-F24B-B372-9632EC441D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5051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 descr="Row 3, text box 2">
            <a:extLst>
              <a:ext uri="{FF2B5EF4-FFF2-40B4-BE49-F238E27FC236}">
                <a16:creationId xmlns:a16="http://schemas.microsoft.com/office/drawing/2014/main" id="{8B2FDC15-7948-0244-83E4-0CDCDBC619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86312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3" descr="Row 3, text box 3">
            <a:extLst>
              <a:ext uri="{FF2B5EF4-FFF2-40B4-BE49-F238E27FC236}">
                <a16:creationId xmlns:a16="http://schemas.microsoft.com/office/drawing/2014/main" id="{E4B34A83-BA8A-6844-8A56-BBD517A5B6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7573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3" descr="Row 3, text box 4">
            <a:extLst>
              <a:ext uri="{FF2B5EF4-FFF2-40B4-BE49-F238E27FC236}">
                <a16:creationId xmlns:a16="http://schemas.microsoft.com/office/drawing/2014/main" id="{532716FA-3DC7-AF41-8C5F-F9D040A439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8834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3" descr="Row 3, text box 5">
            <a:extLst>
              <a:ext uri="{FF2B5EF4-FFF2-40B4-BE49-F238E27FC236}">
                <a16:creationId xmlns:a16="http://schemas.microsoft.com/office/drawing/2014/main" id="{6EA6D41F-30CE-1443-9F1F-896A2907EC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00095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" descr="Row 3, text box 6">
            <a:extLst>
              <a:ext uri="{FF2B5EF4-FFF2-40B4-BE49-F238E27FC236}">
                <a16:creationId xmlns:a16="http://schemas.microsoft.com/office/drawing/2014/main" id="{62388AAB-5BA2-4747-B0D0-B11DA919512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1354" y="4956561"/>
            <a:ext cx="1713607" cy="915157"/>
          </a:xfrm>
          <a:solidFill>
            <a:srgbClr val="F4F8FA"/>
          </a:solidFill>
          <a:ln w="12700">
            <a:solidFill>
              <a:schemeClr val="accent2">
                <a:alpha val="25000"/>
              </a:schemeClr>
            </a:solidFill>
          </a:ln>
        </p:spPr>
        <p:txBody>
          <a:bodyPr wrap="square" tIns="182880"/>
          <a:lstStyle>
            <a:lvl1pPr algn="ctr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000"/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09494D0-773E-A04D-BC5F-65AA87B8246F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20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 2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pic>
        <p:nvPicPr>
          <p:cNvPr id="9" name="VMware logo">
            <a:extLst>
              <a:ext uri="{FF2B5EF4-FFF2-40B4-BE49-F238E27FC236}">
                <a16:creationId xmlns:a16="http://schemas.microsoft.com/office/drawing/2014/main" id="{808C7B67-FD35-5D49-90F9-2971A7B537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9085" y="6215185"/>
            <a:ext cx="1535550" cy="556262"/>
          </a:xfrm>
          <a:prstGeom prst="rect">
            <a:avLst/>
          </a:prstGeom>
        </p:spPr>
      </p:pic>
      <p:sp>
        <p:nvSpPr>
          <p:cNvPr id="10" name="Copyright" descr="Confidential copyright VMware, Inc. 2021">
            <a:extLst>
              <a:ext uri="{FF2B5EF4-FFF2-40B4-BE49-F238E27FC236}">
                <a16:creationId xmlns:a16="http://schemas.microsoft.com/office/drawing/2014/main" id="{8F105BA1-2DCB-7E4F-97A4-643208B34705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1" name="page number">
            <a:extLst>
              <a:ext uri="{FF2B5EF4-FFF2-40B4-BE49-F238E27FC236}">
                <a16:creationId xmlns:a16="http://schemas.microsoft.com/office/drawing/2014/main" id="{55062593-5C0A-1043-8749-AF6C4D1E8735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</a:rPr>
              <a:pPr lvl="0" algn="r"/>
              <a:t>‹#›</a:t>
            </a:fld>
            <a:endParaRPr lang="en-US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22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8AC2B6A-21C3-E64A-A023-43E3DDFF1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91446" y="-1855011"/>
            <a:ext cx="13468141" cy="9864449"/>
            <a:chOff x="-991446" y="-1855011"/>
            <a:chExt cx="13468141" cy="986444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FC38F94-115E-4DBE-80BB-680CB172F9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10400" y="-3656857"/>
              <a:ext cx="9864449" cy="13468141"/>
            </a:xfrm>
            <a:custGeom>
              <a:avLst/>
              <a:gdLst>
                <a:gd name="connsiteX0" fmla="*/ 0 w 9864449"/>
                <a:gd name="connsiteY0" fmla="*/ 7314461 h 13468141"/>
                <a:gd name="connsiteX1" fmla="*/ 7314462 w 9864449"/>
                <a:gd name="connsiteY1" fmla="*/ 0 h 13468141"/>
                <a:gd name="connsiteX2" fmla="*/ 9864449 w 9864449"/>
                <a:gd name="connsiteY2" fmla="*/ 2549987 h 13468141"/>
                <a:gd name="connsiteX3" fmla="*/ 9864449 w 9864449"/>
                <a:gd name="connsiteY3" fmla="*/ 7148688 h 13468141"/>
                <a:gd name="connsiteX4" fmla="*/ 3544996 w 9864449"/>
                <a:gd name="connsiteY4" fmla="*/ 13468141 h 13468141"/>
                <a:gd name="connsiteX5" fmla="*/ 0 w 9864449"/>
                <a:gd name="connsiteY5" fmla="*/ 9923145 h 1346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4449" h="13468141">
                  <a:moveTo>
                    <a:pt x="0" y="7314461"/>
                  </a:moveTo>
                  <a:lnTo>
                    <a:pt x="7314462" y="0"/>
                  </a:lnTo>
                  <a:lnTo>
                    <a:pt x="9864449" y="2549987"/>
                  </a:lnTo>
                  <a:lnTo>
                    <a:pt x="9864449" y="7148688"/>
                  </a:lnTo>
                  <a:lnTo>
                    <a:pt x="3544996" y="13468141"/>
                  </a:lnTo>
                  <a:lnTo>
                    <a:pt x="0" y="9923145"/>
                  </a:lnTo>
                  <a:close/>
                </a:path>
              </a:pathLst>
            </a:custGeom>
            <a:solidFill>
              <a:srgbClr val="F4F8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5E11EA0-C34E-47CC-A1C4-C041612819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037252" y="3334944"/>
              <a:ext cx="970552" cy="4540137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accent4"/>
                </a:gs>
                <a:gs pos="87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" name="Text Placeholder 862">
            <a:extLst>
              <a:ext uri="{FF2B5EF4-FFF2-40B4-BE49-F238E27FC236}">
                <a16:creationId xmlns:a16="http://schemas.microsoft.com/office/drawing/2014/main" id="{65A5776C-9EB9-F84B-B0C4-411FA1106F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233670"/>
            <a:ext cx="649786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lide with large text placeholder, decoration shows a leaf gradient parallelogram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1C67AF7-9EB7-0341-9DC2-03D64510A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C1C07BA8-4518-6843-9F15-ED43E7CA98F8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55FF2E89-7A98-C14C-B802-9BBF588108E5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58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87A5295-1C34-F54C-8F83-D1F82B2A49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91446" y="-1855011"/>
            <a:ext cx="13468141" cy="9864449"/>
            <a:chOff x="-991446" y="-1855011"/>
            <a:chExt cx="13468141" cy="986444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AA04BF1-028D-4BDA-A4B7-2EF92A0742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10400" y="-3656857"/>
              <a:ext cx="9864449" cy="13468141"/>
            </a:xfrm>
            <a:custGeom>
              <a:avLst/>
              <a:gdLst>
                <a:gd name="connsiteX0" fmla="*/ 0 w 9864449"/>
                <a:gd name="connsiteY0" fmla="*/ 7314461 h 13468141"/>
                <a:gd name="connsiteX1" fmla="*/ 7314462 w 9864449"/>
                <a:gd name="connsiteY1" fmla="*/ 0 h 13468141"/>
                <a:gd name="connsiteX2" fmla="*/ 9864449 w 9864449"/>
                <a:gd name="connsiteY2" fmla="*/ 2549987 h 13468141"/>
                <a:gd name="connsiteX3" fmla="*/ 9864449 w 9864449"/>
                <a:gd name="connsiteY3" fmla="*/ 7148688 h 13468141"/>
                <a:gd name="connsiteX4" fmla="*/ 3544996 w 9864449"/>
                <a:gd name="connsiteY4" fmla="*/ 13468141 h 13468141"/>
                <a:gd name="connsiteX5" fmla="*/ 0 w 9864449"/>
                <a:gd name="connsiteY5" fmla="*/ 9923145 h 1346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4449" h="13468141">
                  <a:moveTo>
                    <a:pt x="0" y="7314461"/>
                  </a:moveTo>
                  <a:lnTo>
                    <a:pt x="7314462" y="0"/>
                  </a:lnTo>
                  <a:lnTo>
                    <a:pt x="9864449" y="2549987"/>
                  </a:lnTo>
                  <a:lnTo>
                    <a:pt x="9864449" y="7148688"/>
                  </a:lnTo>
                  <a:lnTo>
                    <a:pt x="3544996" y="13468141"/>
                  </a:lnTo>
                  <a:lnTo>
                    <a:pt x="0" y="9923145"/>
                  </a:lnTo>
                  <a:close/>
                </a:path>
              </a:pathLst>
            </a:custGeom>
            <a:solidFill>
              <a:srgbClr val="F4F8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73426A1-35AB-43B6-9A41-2142ACF3AC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037252" y="3334944"/>
              <a:ext cx="970552" cy="4540137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rgbClr val="7F35AB"/>
                </a:gs>
                <a:gs pos="87000">
                  <a:srgbClr val="264088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" name="Text Placeholder 862">
            <a:extLst>
              <a:ext uri="{FF2B5EF4-FFF2-40B4-BE49-F238E27FC236}">
                <a16:creationId xmlns:a16="http://schemas.microsoft.com/office/drawing/2014/main" id="{BB1BA4EC-6D18-954E-81DD-4678CFBE6F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233670"/>
            <a:ext cx="649786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5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lide with large text placeholder, decoration shows a plum gradient parallelogram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20D20A8-C786-6748-8A0E-D0CA13B8DF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61E350AC-1475-D749-AF9C-E3A92DA17D69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312DD3E6-E621-1B4F-9197-621CC0C346AF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01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E088029-FE4A-1B4C-A072-67918A548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91446" y="-1855011"/>
            <a:ext cx="13468141" cy="9864449"/>
            <a:chOff x="-991446" y="-1855011"/>
            <a:chExt cx="13468141" cy="986444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9A14F3E-8802-40CC-94BC-F7A8969E93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10400" y="-3656857"/>
              <a:ext cx="9864449" cy="13468141"/>
            </a:xfrm>
            <a:custGeom>
              <a:avLst/>
              <a:gdLst>
                <a:gd name="connsiteX0" fmla="*/ 0 w 9864449"/>
                <a:gd name="connsiteY0" fmla="*/ 7314461 h 13468141"/>
                <a:gd name="connsiteX1" fmla="*/ 7314462 w 9864449"/>
                <a:gd name="connsiteY1" fmla="*/ 0 h 13468141"/>
                <a:gd name="connsiteX2" fmla="*/ 9864449 w 9864449"/>
                <a:gd name="connsiteY2" fmla="*/ 2549987 h 13468141"/>
                <a:gd name="connsiteX3" fmla="*/ 9864449 w 9864449"/>
                <a:gd name="connsiteY3" fmla="*/ 7148688 h 13468141"/>
                <a:gd name="connsiteX4" fmla="*/ 3544996 w 9864449"/>
                <a:gd name="connsiteY4" fmla="*/ 13468141 h 13468141"/>
                <a:gd name="connsiteX5" fmla="*/ 0 w 9864449"/>
                <a:gd name="connsiteY5" fmla="*/ 9923145 h 1346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4449" h="13468141">
                  <a:moveTo>
                    <a:pt x="0" y="7314461"/>
                  </a:moveTo>
                  <a:lnTo>
                    <a:pt x="7314462" y="0"/>
                  </a:lnTo>
                  <a:lnTo>
                    <a:pt x="9864449" y="2549987"/>
                  </a:lnTo>
                  <a:lnTo>
                    <a:pt x="9864449" y="7148688"/>
                  </a:lnTo>
                  <a:lnTo>
                    <a:pt x="3544996" y="13468141"/>
                  </a:lnTo>
                  <a:lnTo>
                    <a:pt x="0" y="9923145"/>
                  </a:lnTo>
                  <a:close/>
                </a:path>
              </a:pathLst>
            </a:custGeom>
            <a:solidFill>
              <a:srgbClr val="F4F8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CD52C01-87CF-4DAA-AF73-217E439433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037252" y="3334944"/>
              <a:ext cx="970552" cy="4540137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accent3"/>
                </a:gs>
                <a:gs pos="87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" name="Text Placeholder 862">
            <a:extLst>
              <a:ext uri="{FF2B5EF4-FFF2-40B4-BE49-F238E27FC236}">
                <a16:creationId xmlns:a16="http://schemas.microsoft.com/office/drawing/2014/main" id="{113BEA88-710C-A54D-A13C-5E36B6B878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233670"/>
            <a:ext cx="649786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lide with large text placeholder, decoration shows an aqua gradient parallelogram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C367E7D-27EB-DB42-901F-5E8EDE8B1D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4C8BAF66-C969-D84D-8FC8-7692D54BF5A4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3A15EC20-3B57-4E4E-872C-A34852CBEF1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21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lick to edit text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94013" y="1359907"/>
            <a:ext cx="7315200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730" name="page number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AB009F-8C77-4345-BB40-5C6D1F329C80}"/>
              </a:ext>
            </a:extLst>
          </p:cNvPr>
          <p:cNvSpPr txBox="1"/>
          <p:nvPr userDrawn="1"/>
        </p:nvSpPr>
        <p:spPr>
          <a:xfrm>
            <a:off x="610289" y="1257625"/>
            <a:ext cx="1939871" cy="443198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>
                <a:latin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3889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-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514600"/>
            <a:ext cx="555681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lide with large text placeholder and circle graphic. Circle is ocean color with a sample icon in the center.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79720" y="-8061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F4F8FA"/>
              </a:gs>
              <a:gs pos="30000">
                <a:srgbClr val="F4F8FA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147" name="Oval 2146" descr="place icon in center">
            <a:extLst>
              <a:ext uri="{FF2B5EF4-FFF2-40B4-BE49-F238E27FC236}">
                <a16:creationId xmlns:a16="http://schemas.microsoft.com/office/drawing/2014/main" id="{FDDA58E5-A99B-48C0-A6B7-6BAE32E46F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>
              <a:latin typeface="Arial" panose="020B0604020202020204" pitchFamily="34" charset="0"/>
            </a:endParaRPr>
          </a:p>
        </p:txBody>
      </p:sp>
      <p:sp>
        <p:nvSpPr>
          <p:cNvPr id="8" name="page number">
            <a:extLst>
              <a:ext uri="{FF2B5EF4-FFF2-40B4-BE49-F238E27FC236}">
                <a16:creationId xmlns:a16="http://schemas.microsoft.com/office/drawing/2014/main" id="{45469056-638C-FF40-8AA5-0675077535BA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553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- Indi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3" y="2514600"/>
            <a:ext cx="5254471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Slide with large text placeholder and circle graphic. Circle is indigo with a sample icon in the center.</a:t>
            </a: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D60E6AE3-A325-8F44-9E02-4550AD0A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79720" y="-8061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F4F8FA"/>
              </a:gs>
              <a:gs pos="29000">
                <a:srgbClr val="F4F8FA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147" name="Oval 2146" descr="place icon in center">
            <a:extLst>
              <a:ext uri="{FF2B5EF4-FFF2-40B4-BE49-F238E27FC236}">
                <a16:creationId xmlns:a16="http://schemas.microsoft.com/office/drawing/2014/main" id="{FDDA58E5-A99B-48C0-A6B7-6BAE32E46F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 bwMode="gray">
          <a:xfrm rot="10800000">
            <a:off x="7273815" y="1515193"/>
            <a:ext cx="3735912" cy="37359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>
              <a:latin typeface="Arial" panose="020B0604020202020204" pitchFamily="34" charset="0"/>
            </a:endParaRPr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2A1148C9-BE55-F64C-8A6E-A5239BDB4089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96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-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62">
            <a:extLst>
              <a:ext uri="{FF2B5EF4-FFF2-40B4-BE49-F238E27FC236}">
                <a16:creationId xmlns:a16="http://schemas.microsoft.com/office/drawing/2014/main" id="{0F507127-789E-994A-9A44-353C37E789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015" y="2514600"/>
            <a:ext cx="4647032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5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Click to edit text and add a plum color icon to compliment or correspond to your statement.</a:t>
            </a:r>
          </a:p>
        </p:txBody>
      </p:sp>
      <p:sp>
        <p:nvSpPr>
          <p:cNvPr id="8" name="Freeform: Shape 5">
            <a:extLst>
              <a:ext uri="{FF2B5EF4-FFF2-40B4-BE49-F238E27FC236}">
                <a16:creationId xmlns:a16="http://schemas.microsoft.com/office/drawing/2014/main" id="{BB5EC970-0FCA-954A-B470-64D32C5DDF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79720" y="-80614"/>
            <a:ext cx="6809966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F4F8FA"/>
              </a:gs>
              <a:gs pos="30000">
                <a:srgbClr val="F4F8FA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147" name="Oval 2146" descr="place icon in center">
            <a:extLst>
              <a:ext uri="{FF2B5EF4-FFF2-40B4-BE49-F238E27FC236}">
                <a16:creationId xmlns:a16="http://schemas.microsoft.com/office/drawing/2014/main" id="{FDDA58E5-A99B-48C0-A6B7-6BAE32E46F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 bwMode="gray">
          <a:xfrm>
            <a:off x="7273815" y="1515193"/>
            <a:ext cx="3735912" cy="37359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>
              <a:latin typeface="Arial" panose="020B0604020202020204" pitchFamily="34" charset="0"/>
            </a:endParaRPr>
          </a:p>
        </p:txBody>
      </p:sp>
      <p:sp>
        <p:nvSpPr>
          <p:cNvPr id="7" name="page number">
            <a:extLst>
              <a:ext uri="{FF2B5EF4-FFF2-40B4-BE49-F238E27FC236}">
                <a16:creationId xmlns:a16="http://schemas.microsoft.com/office/drawing/2014/main" id="{4144FBF0-61D7-2140-A159-ECF2E9CDDA21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61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014" y="2514600"/>
            <a:ext cx="5485844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5688" y="0"/>
            <a:ext cx="5403138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/>
              <a:t>Click on the icon to insert a picture from your computer</a:t>
            </a:r>
          </a:p>
        </p:txBody>
      </p:sp>
      <p:sp>
        <p:nvSpPr>
          <p:cNvPr id="6" name="page number">
            <a:extLst>
              <a:ext uri="{FF2B5EF4-FFF2-40B4-BE49-F238E27FC236}">
                <a16:creationId xmlns:a16="http://schemas.microsoft.com/office/drawing/2014/main" id="{1AAC44A2-B8BC-4B45-BE44-C4C65AFCB660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82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bg>
      <p:bgPr>
        <a:solidFill>
          <a:srgbClr val="F4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B2561DF-30FD-6C49-A8A6-D040520C9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88822" cy="5193397"/>
            <a:chOff x="0" y="0"/>
            <a:chExt cx="12188822" cy="519339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0F1D41E-848B-4178-A0D2-2A18C69214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hidden">
            <a:xfrm>
              <a:off x="0" y="0"/>
              <a:ext cx="12188822" cy="4332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1ED419A-30D8-44AB-9256-156B54D449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white">
            <a:xfrm>
              <a:off x="672527" y="722997"/>
              <a:ext cx="4470400" cy="4470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5" name="Text Placeholder 14" descr="Doughnut chart label 3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14599"/>
            <a:ext cx="502761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Doughnut Chart slide, click to add text here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672" y="722997"/>
            <a:ext cx="4480256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a </a:t>
            </a:r>
            <a:br>
              <a:rPr lang="en-US"/>
            </a:br>
            <a:r>
              <a:rPr lang="en-US"/>
              <a:t>Doughnut chart</a:t>
            </a:r>
          </a:p>
        </p:txBody>
      </p:sp>
      <p:sp>
        <p:nvSpPr>
          <p:cNvPr id="13" name="Text Placeholder 12" descr="Doughnut chart label 1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330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12" descr="Doughnut chart label 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6416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2" descr="Doughnut chart label 4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1103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12" descr="Doughnut chart label 5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8109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12" descr="Doughnut chart label 6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0672" y="5507147"/>
            <a:ext cx="1371064" cy="423862"/>
          </a:xfr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5FED840F-E343-734C-96BA-0EFF5AE5DADC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28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 number">
            <a:extLst>
              <a:ext uri="{FF2B5EF4-FFF2-40B4-BE49-F238E27FC236}">
                <a16:creationId xmlns:a16="http://schemas.microsoft.com/office/drawing/2014/main" id="{BE17F87B-8433-6C45-84D8-13DF5C0ADDB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99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-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5EF2240-266A-4843-B008-4BC7F29D26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096828" y="875736"/>
            <a:ext cx="8395793" cy="2908667"/>
            <a:chOff x="-2096828" y="875736"/>
            <a:chExt cx="8395793" cy="2908667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90856DC-2061-2B48-BE11-4479A868B8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74528" y="-2095620"/>
              <a:ext cx="2453081" cy="8395793"/>
            </a:xfrm>
            <a:custGeom>
              <a:avLst/>
              <a:gdLst>
                <a:gd name="connsiteX0" fmla="*/ 0 w 2453081"/>
                <a:gd name="connsiteY0" fmla="*/ 2451371 h 8395793"/>
                <a:gd name="connsiteX1" fmla="*/ 951724 w 2453081"/>
                <a:gd name="connsiteY1" fmla="*/ 1499646 h 8395793"/>
                <a:gd name="connsiteX2" fmla="*/ 2451371 w 2453081"/>
                <a:gd name="connsiteY2" fmla="*/ 0 h 8395793"/>
                <a:gd name="connsiteX3" fmla="*/ 2451371 w 2453081"/>
                <a:gd name="connsiteY3" fmla="*/ 8322767 h 8395793"/>
                <a:gd name="connsiteX4" fmla="*/ 2453081 w 2453081"/>
                <a:gd name="connsiteY4" fmla="*/ 8340727 h 8395793"/>
                <a:gd name="connsiteX5" fmla="*/ 2453076 w 2453081"/>
                <a:gd name="connsiteY5" fmla="*/ 8395793 h 8395793"/>
                <a:gd name="connsiteX6" fmla="*/ 2107648 w 2453081"/>
                <a:gd name="connsiteY6" fmla="*/ 8050365 h 8395793"/>
                <a:gd name="connsiteX7" fmla="*/ 2107650 w 2453081"/>
                <a:gd name="connsiteY7" fmla="*/ 8050364 h 8395793"/>
                <a:gd name="connsiteX8" fmla="*/ 0 w 2453081"/>
                <a:gd name="connsiteY8" fmla="*/ 5942713 h 839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3081" h="8395793">
                  <a:moveTo>
                    <a:pt x="0" y="2451371"/>
                  </a:moveTo>
                  <a:lnTo>
                    <a:pt x="951724" y="1499646"/>
                  </a:lnTo>
                  <a:lnTo>
                    <a:pt x="2451371" y="0"/>
                  </a:lnTo>
                  <a:lnTo>
                    <a:pt x="2451371" y="8322767"/>
                  </a:lnTo>
                  <a:lnTo>
                    <a:pt x="2453081" y="8340727"/>
                  </a:lnTo>
                  <a:lnTo>
                    <a:pt x="2453076" y="8395793"/>
                  </a:lnTo>
                  <a:lnTo>
                    <a:pt x="2107648" y="8050365"/>
                  </a:lnTo>
                  <a:lnTo>
                    <a:pt x="2107650" y="8050364"/>
                  </a:lnTo>
                  <a:lnTo>
                    <a:pt x="0" y="594271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98277E7-A565-C042-AA42-42D59F2BB6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8900000">
              <a:off x="-1169136" y="3117277"/>
              <a:ext cx="6372785" cy="667126"/>
            </a:xfrm>
            <a:custGeom>
              <a:avLst/>
              <a:gdLst>
                <a:gd name="connsiteX0" fmla="*/ 6372785 w 6372785"/>
                <a:gd name="connsiteY0" fmla="*/ 0 h 667126"/>
                <a:gd name="connsiteX1" fmla="*/ 6372785 w 6372785"/>
                <a:gd name="connsiteY1" fmla="*/ 667126 h 667126"/>
                <a:gd name="connsiteX2" fmla="*/ 0 w 6372785"/>
                <a:gd name="connsiteY2" fmla="*/ 667126 h 667126"/>
                <a:gd name="connsiteX3" fmla="*/ 667126 w 6372785"/>
                <a:gd name="connsiteY3" fmla="*/ 0 h 66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72785" h="667126">
                  <a:moveTo>
                    <a:pt x="6372785" y="0"/>
                  </a:moveTo>
                  <a:lnTo>
                    <a:pt x="6372785" y="667126"/>
                  </a:lnTo>
                  <a:lnTo>
                    <a:pt x="0" y="667126"/>
                  </a:lnTo>
                  <a:lnTo>
                    <a:pt x="667126" y="0"/>
                  </a:lnTo>
                  <a:close/>
                </a:path>
              </a:pathLst>
            </a:custGeom>
            <a:gradFill>
              <a:gsLst>
                <a:gs pos="94000">
                  <a:schemeClr val="bg1"/>
                </a:gs>
                <a:gs pos="16000">
                  <a:schemeClr val="accent4"/>
                </a:gs>
                <a:gs pos="76000">
                  <a:schemeClr val="bg1"/>
                </a:gs>
              </a:gsLst>
              <a:lin ang="78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07DE2-A4BE-3B43-A385-D616B948566C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+mj-cs"/>
              </a:rPr>
              <a:t>Thank You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83A34EF-ECB2-4146-A506-C274E70D96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2B712F1C-B8CD-7646-A97B-4158C30FC0C3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361653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-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27B38C5-18A7-2D47-B7BC-7C6354836C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096828" y="875736"/>
            <a:ext cx="8395793" cy="2908667"/>
            <a:chOff x="-2096828" y="875736"/>
            <a:chExt cx="8395793" cy="2908667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7662624-1916-1147-8673-61A88FA00F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74528" y="-2095620"/>
              <a:ext cx="2453081" cy="8395793"/>
            </a:xfrm>
            <a:custGeom>
              <a:avLst/>
              <a:gdLst>
                <a:gd name="connsiteX0" fmla="*/ 0 w 2453081"/>
                <a:gd name="connsiteY0" fmla="*/ 2451371 h 8395793"/>
                <a:gd name="connsiteX1" fmla="*/ 951724 w 2453081"/>
                <a:gd name="connsiteY1" fmla="*/ 1499646 h 8395793"/>
                <a:gd name="connsiteX2" fmla="*/ 2451371 w 2453081"/>
                <a:gd name="connsiteY2" fmla="*/ 0 h 8395793"/>
                <a:gd name="connsiteX3" fmla="*/ 2451371 w 2453081"/>
                <a:gd name="connsiteY3" fmla="*/ 8322767 h 8395793"/>
                <a:gd name="connsiteX4" fmla="*/ 2453081 w 2453081"/>
                <a:gd name="connsiteY4" fmla="*/ 8340727 h 8395793"/>
                <a:gd name="connsiteX5" fmla="*/ 2453076 w 2453081"/>
                <a:gd name="connsiteY5" fmla="*/ 8395793 h 8395793"/>
                <a:gd name="connsiteX6" fmla="*/ 2107648 w 2453081"/>
                <a:gd name="connsiteY6" fmla="*/ 8050365 h 8395793"/>
                <a:gd name="connsiteX7" fmla="*/ 2107650 w 2453081"/>
                <a:gd name="connsiteY7" fmla="*/ 8050364 h 8395793"/>
                <a:gd name="connsiteX8" fmla="*/ 0 w 2453081"/>
                <a:gd name="connsiteY8" fmla="*/ 5942713 h 839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3081" h="8395793">
                  <a:moveTo>
                    <a:pt x="0" y="2451371"/>
                  </a:moveTo>
                  <a:lnTo>
                    <a:pt x="951724" y="1499646"/>
                  </a:lnTo>
                  <a:lnTo>
                    <a:pt x="2451371" y="0"/>
                  </a:lnTo>
                  <a:lnTo>
                    <a:pt x="2451371" y="8322767"/>
                  </a:lnTo>
                  <a:lnTo>
                    <a:pt x="2453081" y="8340727"/>
                  </a:lnTo>
                  <a:lnTo>
                    <a:pt x="2453076" y="8395793"/>
                  </a:lnTo>
                  <a:lnTo>
                    <a:pt x="2107648" y="8050365"/>
                  </a:lnTo>
                  <a:lnTo>
                    <a:pt x="2107650" y="8050364"/>
                  </a:lnTo>
                  <a:lnTo>
                    <a:pt x="0" y="594271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FD09CC14-B3A3-6744-9006-13C8D725B6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8900000">
              <a:off x="-1169136" y="3117277"/>
              <a:ext cx="6372785" cy="667126"/>
            </a:xfrm>
            <a:custGeom>
              <a:avLst/>
              <a:gdLst>
                <a:gd name="connsiteX0" fmla="*/ 6372785 w 6372785"/>
                <a:gd name="connsiteY0" fmla="*/ 0 h 667126"/>
                <a:gd name="connsiteX1" fmla="*/ 6372785 w 6372785"/>
                <a:gd name="connsiteY1" fmla="*/ 667126 h 667126"/>
                <a:gd name="connsiteX2" fmla="*/ 0 w 6372785"/>
                <a:gd name="connsiteY2" fmla="*/ 667126 h 667126"/>
                <a:gd name="connsiteX3" fmla="*/ 667126 w 6372785"/>
                <a:gd name="connsiteY3" fmla="*/ 0 h 66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72785" h="667126">
                  <a:moveTo>
                    <a:pt x="6372785" y="0"/>
                  </a:moveTo>
                  <a:lnTo>
                    <a:pt x="6372785" y="667126"/>
                  </a:lnTo>
                  <a:lnTo>
                    <a:pt x="0" y="667126"/>
                  </a:lnTo>
                  <a:lnTo>
                    <a:pt x="667126" y="0"/>
                  </a:lnTo>
                  <a:close/>
                </a:path>
              </a:pathLst>
            </a:custGeom>
            <a:gradFill>
              <a:gsLst>
                <a:gs pos="16000">
                  <a:schemeClr val="bg1">
                    <a:alpha val="0"/>
                  </a:schemeClr>
                </a:gs>
                <a:gs pos="77000">
                  <a:schemeClr val="tx2">
                    <a:lumMod val="0"/>
                    <a:lumOff val="100000"/>
                  </a:schemeClr>
                </a:gs>
              </a:gsLst>
              <a:lin ang="78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3EB9DBD-7EC8-8749-8D2B-52C66972D46E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+mj-cs"/>
              </a:rPr>
              <a:t>Thank You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61EA87E-2139-1044-BE1B-4AB0B08424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0472DE30-0E15-7848-A56B-12C2A04ED13B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352651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26675FC6-0703-3C42-8CBD-782318274E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096828" y="875736"/>
            <a:ext cx="8395793" cy="2908667"/>
            <a:chOff x="-2096828" y="875736"/>
            <a:chExt cx="8395793" cy="2908667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2D62845-97D5-614C-B24D-84368E89A8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74528" y="-2095620"/>
              <a:ext cx="2453081" cy="8395793"/>
            </a:xfrm>
            <a:custGeom>
              <a:avLst/>
              <a:gdLst>
                <a:gd name="connsiteX0" fmla="*/ 0 w 2453081"/>
                <a:gd name="connsiteY0" fmla="*/ 2451371 h 8395793"/>
                <a:gd name="connsiteX1" fmla="*/ 951724 w 2453081"/>
                <a:gd name="connsiteY1" fmla="*/ 1499646 h 8395793"/>
                <a:gd name="connsiteX2" fmla="*/ 2451371 w 2453081"/>
                <a:gd name="connsiteY2" fmla="*/ 0 h 8395793"/>
                <a:gd name="connsiteX3" fmla="*/ 2451371 w 2453081"/>
                <a:gd name="connsiteY3" fmla="*/ 8322767 h 8395793"/>
                <a:gd name="connsiteX4" fmla="*/ 2453081 w 2453081"/>
                <a:gd name="connsiteY4" fmla="*/ 8340727 h 8395793"/>
                <a:gd name="connsiteX5" fmla="*/ 2453076 w 2453081"/>
                <a:gd name="connsiteY5" fmla="*/ 8395793 h 8395793"/>
                <a:gd name="connsiteX6" fmla="*/ 2107648 w 2453081"/>
                <a:gd name="connsiteY6" fmla="*/ 8050365 h 8395793"/>
                <a:gd name="connsiteX7" fmla="*/ 2107650 w 2453081"/>
                <a:gd name="connsiteY7" fmla="*/ 8050364 h 8395793"/>
                <a:gd name="connsiteX8" fmla="*/ 0 w 2453081"/>
                <a:gd name="connsiteY8" fmla="*/ 5942713 h 8395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3081" h="8395793">
                  <a:moveTo>
                    <a:pt x="0" y="2451371"/>
                  </a:moveTo>
                  <a:lnTo>
                    <a:pt x="951724" y="1499646"/>
                  </a:lnTo>
                  <a:lnTo>
                    <a:pt x="2451371" y="0"/>
                  </a:lnTo>
                  <a:lnTo>
                    <a:pt x="2451371" y="8322767"/>
                  </a:lnTo>
                  <a:lnTo>
                    <a:pt x="2453081" y="8340727"/>
                  </a:lnTo>
                  <a:lnTo>
                    <a:pt x="2453076" y="8395793"/>
                  </a:lnTo>
                  <a:lnTo>
                    <a:pt x="2107648" y="8050365"/>
                  </a:lnTo>
                  <a:lnTo>
                    <a:pt x="2107650" y="8050364"/>
                  </a:lnTo>
                  <a:lnTo>
                    <a:pt x="0" y="59427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8567B03-BB58-B046-8C08-41A6910CB7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8900000">
              <a:off x="-1169136" y="3117277"/>
              <a:ext cx="6372785" cy="667126"/>
            </a:xfrm>
            <a:custGeom>
              <a:avLst/>
              <a:gdLst>
                <a:gd name="connsiteX0" fmla="*/ 6372785 w 6372785"/>
                <a:gd name="connsiteY0" fmla="*/ 0 h 667126"/>
                <a:gd name="connsiteX1" fmla="*/ 6372785 w 6372785"/>
                <a:gd name="connsiteY1" fmla="*/ 667126 h 667126"/>
                <a:gd name="connsiteX2" fmla="*/ 0 w 6372785"/>
                <a:gd name="connsiteY2" fmla="*/ 667126 h 667126"/>
                <a:gd name="connsiteX3" fmla="*/ 667126 w 6372785"/>
                <a:gd name="connsiteY3" fmla="*/ 0 h 66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72785" h="667126">
                  <a:moveTo>
                    <a:pt x="6372785" y="0"/>
                  </a:moveTo>
                  <a:lnTo>
                    <a:pt x="6372785" y="667126"/>
                  </a:lnTo>
                  <a:lnTo>
                    <a:pt x="0" y="667126"/>
                  </a:lnTo>
                  <a:lnTo>
                    <a:pt x="667126" y="0"/>
                  </a:lnTo>
                  <a:close/>
                </a:path>
              </a:pathLst>
            </a:custGeom>
            <a:gradFill>
              <a:gsLst>
                <a:gs pos="16000">
                  <a:schemeClr val="bg1">
                    <a:alpha val="0"/>
                  </a:schemeClr>
                </a:gs>
                <a:gs pos="77000">
                  <a:schemeClr val="tx2">
                    <a:lumMod val="0"/>
                    <a:lumOff val="100000"/>
                  </a:schemeClr>
                </a:gs>
              </a:gsLst>
              <a:lin ang="78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BD12A38-34FF-DD48-95F6-31F5ED4772C8}"/>
              </a:ext>
            </a:extLst>
          </p:cNvPr>
          <p:cNvSpPr txBox="1"/>
          <p:nvPr userDrawn="1"/>
        </p:nvSpPr>
        <p:spPr>
          <a:xfrm>
            <a:off x="7122912" y="4133697"/>
            <a:ext cx="3585557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+mj-cs"/>
              </a:rPr>
              <a:t>Thank You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BA341B9A-C8D2-EA4F-9D8A-9922D0AD01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5" name="Copyright" descr="Confidential copyright VMware, Inc. 2021">
            <a:extLst>
              <a:ext uri="{FF2B5EF4-FFF2-40B4-BE49-F238E27FC236}">
                <a16:creationId xmlns:a16="http://schemas.microsoft.com/office/drawing/2014/main" id="{EA2C7395-580D-D445-BAF2-54BDC05A9BAD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367228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38105"/>
            <a:ext cx="10962687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Is the Metropolis font installed on my computer?</a:t>
            </a:r>
          </a:p>
        </p:txBody>
      </p:sp>
      <p:sp>
        <p:nvSpPr>
          <p:cNvPr id="43" name="Rectangle 42" descr="Do the fonts in the words below match on your screen?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363" y="1616678"/>
            <a:ext cx="4633737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>
                <a:solidFill>
                  <a:schemeClr val="bg1"/>
                </a:solidFill>
                <a:latin typeface="Arial" panose="020B0604020202020204" pitchFamily="34" charset="0"/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23364" y="1860778"/>
            <a:ext cx="7299849" cy="0"/>
          </a:xfrm>
          <a:prstGeom prst="line">
            <a:avLst/>
          </a:prstGeom>
          <a:ln w="25400">
            <a:solidFill>
              <a:schemeClr val="accent5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F0DFE264-D676-EA48-BBA7-F4F0331FA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7155" y="2219739"/>
            <a:ext cx="3088310" cy="557972"/>
          </a:xfrm>
          <a:prstGeom prst="rect">
            <a:avLst/>
          </a:prstGeom>
        </p:spPr>
      </p:pic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114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etropol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BB7D6E-2488-A644-A910-415B17221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30912" y="2242892"/>
            <a:ext cx="4743106" cy="538407"/>
          </a:xfrm>
          <a:prstGeom prst="rect">
            <a:avLst/>
          </a:prstGeom>
        </p:spPr>
      </p:pic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3683" y="2908233"/>
            <a:ext cx="5354637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etropolis Light</a:t>
            </a:r>
          </a:p>
        </p:txBody>
      </p:sp>
    </p:spTree>
    <p:extLst>
      <p:ext uri="{BB962C8B-B14F-4D97-AF65-F5344CB8AC3E}">
        <p14:creationId xmlns:p14="http://schemas.microsoft.com/office/powerpoint/2010/main" val="142599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Option 1</a:t>
            </a:r>
            <a:br>
              <a:rPr lang="en-US"/>
            </a:br>
            <a:r>
              <a:rPr lang="en-US"/>
              <a:t>Leaf and Ocean Color Theme</a:t>
            </a:r>
          </a:p>
        </p:txBody>
      </p:sp>
      <p:sp>
        <p:nvSpPr>
          <p:cNvPr id="128" name="Subtitle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3" name="parallelogram graphics">
            <a:extLst>
              <a:ext uri="{FF2B5EF4-FFF2-40B4-BE49-F238E27FC236}">
                <a16:creationId xmlns:a16="http://schemas.microsoft.com/office/drawing/2014/main" id="{4179C3A7-5E74-9045-81C2-636194DEE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180604" y="3294915"/>
            <a:ext cx="9157084" cy="2284913"/>
            <a:chOff x="5180604" y="3294915"/>
            <a:chExt cx="9157084" cy="228491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C7C29EF-2F18-D94B-B2F7-6E9AFD0EC7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616689" y="-141170"/>
              <a:ext cx="2284913" cy="9157084"/>
            </a:xfrm>
            <a:custGeom>
              <a:avLst/>
              <a:gdLst>
                <a:gd name="connsiteX0" fmla="*/ 1 w 2284913"/>
                <a:gd name="connsiteY0" fmla="*/ 0 h 9157084"/>
                <a:gd name="connsiteX1" fmla="*/ 2284913 w 2284913"/>
                <a:gd name="connsiteY1" fmla="*/ 2284913 h 9157084"/>
                <a:gd name="connsiteX2" fmla="*/ 2284913 w 2284913"/>
                <a:gd name="connsiteY2" fmla="*/ 6872172 h 9157084"/>
                <a:gd name="connsiteX3" fmla="*/ 0 w 2284913"/>
                <a:gd name="connsiteY3" fmla="*/ 9157084 h 91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913" h="9157084">
                  <a:moveTo>
                    <a:pt x="1" y="0"/>
                  </a:moveTo>
                  <a:lnTo>
                    <a:pt x="2284913" y="2284913"/>
                  </a:lnTo>
                  <a:lnTo>
                    <a:pt x="2284913" y="6872172"/>
                  </a:lnTo>
                  <a:lnTo>
                    <a:pt x="0" y="9157084"/>
                  </a:lnTo>
                  <a:close/>
                </a:path>
              </a:pathLst>
            </a:custGeom>
            <a:gradFill>
              <a:gsLst>
                <a:gs pos="24000">
                  <a:schemeClr val="accent4"/>
                </a:gs>
                <a:gs pos="87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D3A6683-B1EA-4507-96A9-030793602B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753830" y="1674737"/>
              <a:ext cx="970552" cy="6485190"/>
            </a:xfrm>
            <a:custGeom>
              <a:avLst/>
              <a:gdLst>
                <a:gd name="connsiteX0" fmla="*/ 1 w 970552"/>
                <a:gd name="connsiteY0" fmla="*/ 0 h 6485190"/>
                <a:gd name="connsiteX1" fmla="*/ 970552 w 970552"/>
                <a:gd name="connsiteY1" fmla="*/ 970551 h 6485190"/>
                <a:gd name="connsiteX2" fmla="*/ 970552 w 970552"/>
                <a:gd name="connsiteY2" fmla="*/ 5514638 h 6485190"/>
                <a:gd name="connsiteX3" fmla="*/ 0 w 970552"/>
                <a:gd name="connsiteY3" fmla="*/ 6485190 h 648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6485190">
                  <a:moveTo>
                    <a:pt x="1" y="0"/>
                  </a:moveTo>
                  <a:lnTo>
                    <a:pt x="970552" y="970551"/>
                  </a:lnTo>
                  <a:lnTo>
                    <a:pt x="970552" y="5514638"/>
                  </a:lnTo>
                  <a:lnTo>
                    <a:pt x="0" y="6485190"/>
                  </a:lnTo>
                  <a:close/>
                </a:path>
              </a:pathLst>
            </a:custGeom>
            <a:gradFill>
              <a:gsLst>
                <a:gs pos="20000">
                  <a:schemeClr val="accent4"/>
                </a:gs>
                <a:gs pos="95000">
                  <a:schemeClr val="bg1"/>
                </a:gs>
                <a:gs pos="74000">
                  <a:schemeClr val="bg1">
                    <a:alpha val="7900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400A8319-C8D0-2045-925F-144C98981F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3" name="Copyright" descr="Confidential copyright VMware, Inc. 2021">
            <a:extLst>
              <a:ext uri="{FF2B5EF4-FFF2-40B4-BE49-F238E27FC236}">
                <a16:creationId xmlns:a16="http://schemas.microsoft.com/office/drawing/2014/main" id="{72650901-D7DC-FD4A-9F11-4A96B4E7128D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VMware, Inc.</a:t>
            </a:r>
          </a:p>
        </p:txBody>
      </p:sp>
      <p:sp>
        <p:nvSpPr>
          <p:cNvPr id="14" name="page number">
            <a:extLst>
              <a:ext uri="{FF2B5EF4-FFF2-40B4-BE49-F238E27FC236}">
                <a16:creationId xmlns:a16="http://schemas.microsoft.com/office/drawing/2014/main" id="{20A83C12-6BEB-4E4C-9FB0-AA1FB4C661B1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5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ey boxes">
            <a:extLst>
              <a:ext uri="{FF2B5EF4-FFF2-40B4-BE49-F238E27FC236}">
                <a16:creationId xmlns:a16="http://schemas.microsoft.com/office/drawing/2014/main" id="{E2F285D2-B641-461F-87F0-20A9C65B2E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609441" y="1600202"/>
            <a:ext cx="10055941" cy="4580469"/>
            <a:chOff x="609441" y="1600198"/>
            <a:chExt cx="10055941" cy="4580469"/>
          </a:xfrm>
        </p:grpSpPr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15EE1AC-AAA1-4CAF-886B-474B1A0C95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609441" y="1600199"/>
              <a:ext cx="914203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037B7F2-249C-4DB7-A4FF-AD7E08892A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2436448" y="1600198"/>
              <a:ext cx="915282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6B02FE08-2379-4E6C-AE27-D7D2ECAB18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4263453" y="1600198"/>
              <a:ext cx="920909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7C17E9A-3B70-4668-8EAE-9C7D73BAC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6090459" y="1600198"/>
              <a:ext cx="920909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E02751E5-34AD-4357-BC67-2269F668FD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7921943" y="1600198"/>
              <a:ext cx="916431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452A85DA-B39F-40AB-B423-9F7CCB3D0D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gray">
            <a:xfrm>
              <a:off x="9750028" y="1600198"/>
              <a:ext cx="915354" cy="45804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latin typeface="Arial" panose="020B060402020202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EACC7A9-0E02-EC44-8212-DCAA966470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88826" cy="6858004"/>
            <a:chOff x="0" y="0"/>
            <a:chExt cx="12188826" cy="6858004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5B6B4CFD-041A-4081-89A4-C2B194E646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609601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C63B978F-4215-434A-A0BE-E77776CE37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523644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09EEB78C-3DA9-4AD7-BFB1-207EDE403F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980665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F062D7CE-4A4A-4C41-833F-B30B3E74AE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2437686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9C628EF-969E-4429-A992-9AD0AFECF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2894708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C7BD383-0D5C-4E3A-99F7-4DC5A51DF9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3351729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FAA2EE63-4F24-4A26-9268-D15D92D5B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3808750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64BB08D-864A-44D4-88F6-679DBAE518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4265772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9FA3F8A1-60DA-47E1-92DD-967475B2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4722793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4DECF40D-CC60-45F8-B236-F9FAC1F3E8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5179814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623BAEC6-A3C2-4892-9093-BD8EA8A7E0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5636836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4E16FB9-EDCA-4CA6-9212-0AEBFCE175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6093857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F3AE637F-804F-4244-9AA9-FF4A629A14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6550878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5EFB8414-3949-428A-B700-7C38A44425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7007900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A61D1AB-B7D2-4169-B38F-56371D50E1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7464921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D00C4593-A442-4B6C-8E9D-80BFEB1746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7921943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95B5E413-FAFF-430F-B105-4D122D50AE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8378964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B845328-662D-4D12-A209-6A0B1E78DF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8835985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AC19B5D-D919-4A48-953C-03994329E1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9750028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AC81C8DC-CB2F-445A-8F7B-5A864393B5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9293007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3CD9F68-6C35-4B43-B8E1-1ABF75D8D58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0207049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BBBCE95B-721C-44A5-8B94-8F0E42FF53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0664071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3B934F61-1ED7-4209-A1E3-04C68085B1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1121092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8F636E46-095E-439D-B78B-EBC72DB232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066622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61497272-E949-488B-B9F6-FD10BA6526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>
              <a:off x="11572105" y="2683"/>
              <a:ext cx="0" cy="6855315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34689D4-9BAE-40BF-B953-E1A0CA4F5C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6094413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674A3364-6F4C-4749-A110-B336801330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5637212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690EC6B6-039D-4549-B1B1-8FF8A3FC2F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5180012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55F4FAC-9412-45E9-99EC-FDC351D604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31202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A0C0A33-67B3-48C9-9B83-C39DFDEF5E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26630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87FF284-D960-4A05-8053-9886608C65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22058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BA61019-342C-4EDD-97C6-EDA5977464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17486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34785CB-17D0-49DD-8DC9-3C93626DC7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1291438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25DB222-E3A0-48A3-BBD5-FD2616577D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834238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433E4E5-A945-4652-B574-37C6580344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" y="5717375"/>
              <a:ext cx="12188825" cy="0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52A597B-2B35-4BD4-B07E-D8CEF25A59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763591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9351C336-9D65-42C9-A33F-6971E6322E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5637213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FCAD9518-36D4-43F7-839D-D8FE389DF1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4951412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575B3F-2A8B-4175-B6A5-D60652B87ED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86256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CCC90FC-8476-4A2A-8DF1-ECAB053A24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306387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FB03C8E-4661-465A-B25F-147D497525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40346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88C8E030-5491-4C40-9E10-B197BD5CD5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gray">
            <a:xfrm rot="5400000">
              <a:off x="6094413" y="-3577439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E0EBA261-0409-41DC-98E2-4BF8173333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6094413" y="-4494212"/>
              <a:ext cx="0" cy="12188826"/>
            </a:xfrm>
            <a:prstGeom prst="line">
              <a:avLst/>
            </a:prstGeom>
            <a:ln w="9525">
              <a:solidFill>
                <a:schemeClr val="accent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6058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EC77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392" y="721895"/>
            <a:ext cx="10876547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sz="5400" spc="3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224407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08D3F09-D706-3940-8906-CE0F09AC4B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912" y="1600200"/>
            <a:ext cx="54621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accent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 text on left, leaf and ocean parallelograms on right. Lorem ipsum sed.”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C1E51E88-6733-7942-B20E-2C56F8B2ED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648" y="5065776"/>
            <a:ext cx="4581144" cy="27432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ource Nam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588109-A3B0-F349-A053-2B0486EAC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90760" y="1541857"/>
            <a:ext cx="11113170" cy="4175661"/>
            <a:chOff x="2890760" y="1541857"/>
            <a:chExt cx="11113170" cy="4175661"/>
          </a:xfrm>
        </p:grpSpPr>
        <p:sp>
          <p:nvSpPr>
            <p:cNvPr id="23" name="Freeform: Shape 23">
              <a:extLst>
                <a:ext uri="{FF2B5EF4-FFF2-40B4-BE49-F238E27FC236}">
                  <a16:creationId xmlns:a16="http://schemas.microsoft.com/office/drawing/2014/main" id="{F5621D6A-7BA7-2D4E-9E9C-E48F3EA9A806}"/>
                </a:ext>
              </a:extLst>
            </p:cNvPr>
            <p:cNvSpPr/>
            <p:nvPr userDrawn="1"/>
          </p:nvSpPr>
          <p:spPr>
            <a:xfrm rot="13500000">
              <a:off x="6699960" y="862779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30000">
                  <a:srgbClr val="F4F8FA">
                    <a:alpha val="0"/>
                  </a:srgb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8B38AB6-48D7-BF47-8944-C9B92F716B9B}"/>
                </a:ext>
              </a:extLst>
            </p:cNvPr>
            <p:cNvSpPr/>
            <p:nvPr userDrawn="1"/>
          </p:nvSpPr>
          <p:spPr>
            <a:xfrm rot="2700000">
              <a:off x="9149191" y="-2267343"/>
              <a:ext cx="1045539" cy="8663939"/>
            </a:xfrm>
            <a:custGeom>
              <a:avLst/>
              <a:gdLst>
                <a:gd name="connsiteX0" fmla="*/ 0 w 1042026"/>
                <a:gd name="connsiteY0" fmla="*/ 0 h 8663939"/>
                <a:gd name="connsiteX1" fmla="*/ 1042026 w 1042026"/>
                <a:gd name="connsiteY1" fmla="*/ 0 h 8663939"/>
                <a:gd name="connsiteX2" fmla="*/ 1042026 w 1042026"/>
                <a:gd name="connsiteY2" fmla="*/ 7621913 h 8663939"/>
                <a:gd name="connsiteX3" fmla="*/ 0 w 1042026"/>
                <a:gd name="connsiteY3" fmla="*/ 8663939 h 866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2026" h="8663939">
                  <a:moveTo>
                    <a:pt x="0" y="0"/>
                  </a:moveTo>
                  <a:lnTo>
                    <a:pt x="1042026" y="0"/>
                  </a:lnTo>
                  <a:lnTo>
                    <a:pt x="1042026" y="7621913"/>
                  </a:lnTo>
                  <a:lnTo>
                    <a:pt x="0" y="8663939"/>
                  </a:lnTo>
                  <a:close/>
                </a:path>
              </a:pathLst>
            </a:custGeom>
            <a:gradFill>
              <a:gsLst>
                <a:gs pos="22000">
                  <a:srgbClr val="F4F8FA">
                    <a:alpha val="0"/>
                  </a:srgbClr>
                </a:gs>
                <a:gs pos="100000">
                  <a:schemeClr val="accent4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1" name="Picture Placeholder 11" descr="logo placeholder: click to insert logo or delete box if not needed">
            <a:extLst>
              <a:ext uri="{FF2B5EF4-FFF2-40B4-BE49-F238E27FC236}">
                <a16:creationId xmlns:a16="http://schemas.microsoft.com/office/drawing/2014/main" id="{953CF3A7-833E-B042-A405-AB46430C4476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8925484" y="4619335"/>
            <a:ext cx="2740025" cy="1371600"/>
          </a:xfrm>
        </p:spPr>
        <p:txBody>
          <a:bodyPr/>
          <a:lstStyle/>
          <a:p>
            <a:r>
              <a:rPr lang="en-US"/>
              <a:t>Click to insert logo or delete box if not needed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CF49B1-1E74-3F4C-8694-8D087C1A90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1D0B5D01-0665-0146-8FD3-E69D9625BEF7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</a:t>
            </a:r>
            <a:r>
              <a:rPr lang="en-US" sz="7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kern="12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23 VMware, Inc.</a:t>
            </a:r>
          </a:p>
        </p:txBody>
      </p:sp>
      <p:sp>
        <p:nvSpPr>
          <p:cNvPr id="17" name="page number">
            <a:extLst>
              <a:ext uri="{FF2B5EF4-FFF2-40B4-BE49-F238E27FC236}">
                <a16:creationId xmlns:a16="http://schemas.microsoft.com/office/drawing/2014/main" id="{D03B3F1E-BEE4-0C40-B954-F58A7FCE9AE3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590" y="199892"/>
            <a:ext cx="11726183" cy="632593"/>
          </a:xfrm>
          <a:prstGeom prst="rect">
            <a:avLst/>
          </a:prstGeom>
        </p:spPr>
        <p:txBody>
          <a:bodyPr/>
          <a:lstStyle>
            <a:lvl1pPr algn="l">
              <a:defRPr sz="3732" b="1">
                <a:solidFill>
                  <a:srgbClr val="008774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313" y="6481951"/>
            <a:ext cx="497654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DA07C09-8A41-3B46-A636-3955072BBB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361" y="832485"/>
            <a:ext cx="11725396" cy="38475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399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"/>
            <a:ext cx="12188825" cy="71991"/>
          </a:xfrm>
          <a:prstGeom prst="rect">
            <a:avLst/>
          </a:prstGeom>
          <a:solidFill>
            <a:srgbClr val="0087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2905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age - multiple level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subTitle" idx="1"/>
          </p:nvPr>
        </p:nvSpPr>
        <p:spPr>
          <a:xfrm>
            <a:off x="183020" y="917873"/>
            <a:ext cx="12044461" cy="6378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Font typeface="Arial"/>
              <a:buNone/>
              <a:defRPr sz="2399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448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8895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343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779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238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6686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613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5581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144457" y="195072"/>
            <a:ext cx="12044461" cy="7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3732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buFont typeface="Arial"/>
              <a:buNone/>
              <a:defRPr sz="2399"/>
            </a:lvl2pPr>
            <a:lvl3pPr lvl="2" indent="0" rtl="0">
              <a:spcBef>
                <a:spcPts val="0"/>
              </a:spcBef>
              <a:buFont typeface="Arial"/>
              <a:buNone/>
              <a:defRPr sz="2399"/>
            </a:lvl3pPr>
            <a:lvl4pPr lvl="3" indent="0" rtl="0">
              <a:spcBef>
                <a:spcPts val="0"/>
              </a:spcBef>
              <a:buFont typeface="Arial"/>
              <a:buNone/>
              <a:defRPr sz="2399"/>
            </a:lvl4pPr>
            <a:lvl5pPr lvl="4" indent="0" rtl="0">
              <a:spcBef>
                <a:spcPts val="0"/>
              </a:spcBef>
              <a:buFont typeface="Arial"/>
              <a:buNone/>
              <a:defRPr sz="2399"/>
            </a:lvl5pPr>
            <a:lvl6pPr lvl="5" indent="0" rtl="0">
              <a:spcBef>
                <a:spcPts val="0"/>
              </a:spcBef>
              <a:buFont typeface="Arial"/>
              <a:buNone/>
              <a:defRPr sz="2399"/>
            </a:lvl6pPr>
            <a:lvl7pPr lvl="6" indent="0" rtl="0">
              <a:spcBef>
                <a:spcPts val="0"/>
              </a:spcBef>
              <a:buFont typeface="Arial"/>
              <a:buNone/>
              <a:defRPr sz="2399"/>
            </a:lvl7pPr>
            <a:lvl8pPr lvl="7" indent="0" rtl="0">
              <a:spcBef>
                <a:spcPts val="0"/>
              </a:spcBef>
              <a:buFont typeface="Arial"/>
              <a:buNone/>
              <a:defRPr sz="2399"/>
            </a:lvl8pPr>
            <a:lvl9pPr lvl="8" indent="0" rtl="0">
              <a:spcBef>
                <a:spcPts val="0"/>
              </a:spcBef>
              <a:buFont typeface="Arial"/>
              <a:buNone/>
              <a:defRPr sz="2399"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2"/>
          </p:nvPr>
        </p:nvSpPr>
        <p:spPr>
          <a:xfrm>
            <a:off x="385433" y="1619167"/>
            <a:ext cx="9809044" cy="4308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04724" marR="0" lvl="0" indent="-15574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110000"/>
              <a:buFont typeface="Arial"/>
              <a:buChar char="•"/>
              <a:defRPr sz="21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11022" marR="0" lvl="1" indent="-1862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17321" marR="0" lvl="2" indent="-20314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343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7790" marR="0" lvl="4" indent="1185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Char char="○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238" marR="0" lvl="5" indent="1185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Char char="■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6686" marR="0" lvl="6" indent="1185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Char char="●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6133" marR="0" lvl="7" indent="1185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Char char="○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5581" marR="0" lvl="8" indent="11850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Arial"/>
              <a:buChar char="■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35763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-Content Balanced with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2866" y="811830"/>
            <a:ext cx="10962687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EC064C4-3E9E-B246-ACD5-2D012920B65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6590" y="1665027"/>
            <a:ext cx="3551385" cy="43434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D231B6-B665-5B4B-98D5-858F74779A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gray">
          <a:xfrm>
            <a:off x="4566265" y="1718036"/>
            <a:ext cx="0" cy="3710608"/>
          </a:xfrm>
          <a:prstGeom prst="line">
            <a:avLst/>
          </a:prstGeom>
          <a:ln w="25400">
            <a:solidFill>
              <a:schemeClr val="tx1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86408" y="1750485"/>
            <a:ext cx="1136591" cy="709301"/>
          </a:xfrm>
        </p:spPr>
        <p:txBody>
          <a:bodyPr lIns="0" rIns="594360"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636B989-5405-7743-8C4B-6894A84D494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5266" y="1750485"/>
            <a:ext cx="5455228" cy="709301"/>
          </a:xfrm>
        </p:spPr>
        <p:txBody>
          <a:bodyPr lIns="0" rIns="594360"/>
          <a:lstStyle>
            <a:lvl1pPr>
              <a:defRPr sz="1400" b="1">
                <a:solidFill>
                  <a:schemeClr val="accent5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add plum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E5AB2B4-4B40-9E4B-88EE-A534B0D16E8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886408" y="2743933"/>
            <a:ext cx="1136591" cy="709301"/>
          </a:xfrm>
        </p:spPr>
        <p:txBody>
          <a:bodyPr lIns="0" rIns="594360"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E3DDFE7-075F-F842-B0E7-0D71FBAC2C3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65266" y="2743933"/>
            <a:ext cx="5455228" cy="709301"/>
          </a:xfrm>
        </p:spPr>
        <p:txBody>
          <a:bodyPr lIns="0" rIns="594360"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add ocea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CD5D980-E9FD-A743-B21C-35D97EFF78B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886408" y="3727413"/>
            <a:ext cx="1136591" cy="709301"/>
          </a:xfrm>
        </p:spPr>
        <p:txBody>
          <a:bodyPr lIns="0" rIns="594360"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23ED76AC-9B3D-A24D-BAEE-275D3021521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65266" y="3727413"/>
            <a:ext cx="5455228" cy="709301"/>
          </a:xfrm>
        </p:spPr>
        <p:txBody>
          <a:bodyPr lIns="0" rIns="594360"/>
          <a:lstStyle>
            <a:lvl1pPr>
              <a:defRPr sz="1400" b="1" i="0">
                <a:solidFill>
                  <a:schemeClr val="accent2"/>
                </a:solidFill>
                <a:latin typeface="+mn-lt"/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add indigo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E328FCB-AD7A-0B48-84A3-BC75E4A968AC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886408" y="4693800"/>
            <a:ext cx="1136591" cy="709301"/>
          </a:xfrm>
        </p:spPr>
        <p:txBody>
          <a:bodyPr lIns="0" rIns="594360"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7E39CCE-D379-974E-B6F3-5D4820EF2F9B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165266" y="4693800"/>
            <a:ext cx="5455228" cy="709301"/>
          </a:xfrm>
        </p:spPr>
        <p:txBody>
          <a:bodyPr lIns="0" rIns="594360"/>
          <a:lstStyle>
            <a:lvl1pPr>
              <a:defRPr sz="1400" b="1" i="0">
                <a:solidFill>
                  <a:schemeClr val="accent6"/>
                </a:solidFill>
                <a:latin typeface="+mn-lt"/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  <a:lvl6pPr>
              <a:defRPr sz="18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200">
                <a:solidFill>
                  <a:schemeClr val="tx2"/>
                </a:solidFill>
              </a:defRPr>
            </a:lvl8pPr>
            <a:lvl9pPr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add dark green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9061FB38-B1F1-AA4D-B978-CB2F5E5AA60D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/>
              <a:pPr lvl="0"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04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7" y="938794"/>
            <a:ext cx="6555971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Option 2 </a:t>
            </a:r>
            <a:br>
              <a:rPr lang="en-US"/>
            </a:br>
            <a:r>
              <a:rPr lang="en-US"/>
              <a:t>Plum and Indigo Color Theme</a:t>
            </a:r>
          </a:p>
        </p:txBody>
      </p:sp>
      <p:sp>
        <p:nvSpPr>
          <p:cNvPr id="128" name="Subtitle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3" name="parallelogram graphics">
            <a:extLst>
              <a:ext uri="{FF2B5EF4-FFF2-40B4-BE49-F238E27FC236}">
                <a16:creationId xmlns:a16="http://schemas.microsoft.com/office/drawing/2014/main" id="{19D37C71-0080-7E44-8BBF-B45818A350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180604" y="3294915"/>
            <a:ext cx="9157084" cy="2284913"/>
            <a:chOff x="5180604" y="3294915"/>
            <a:chExt cx="9157084" cy="228491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C7C29EF-2F18-D94B-B2F7-6E9AFD0EC7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616689" y="-141170"/>
              <a:ext cx="2284913" cy="9157084"/>
            </a:xfrm>
            <a:custGeom>
              <a:avLst/>
              <a:gdLst>
                <a:gd name="connsiteX0" fmla="*/ 1 w 2284913"/>
                <a:gd name="connsiteY0" fmla="*/ 0 h 9157084"/>
                <a:gd name="connsiteX1" fmla="*/ 2284913 w 2284913"/>
                <a:gd name="connsiteY1" fmla="*/ 2284913 h 9157084"/>
                <a:gd name="connsiteX2" fmla="*/ 2284913 w 2284913"/>
                <a:gd name="connsiteY2" fmla="*/ 6872172 h 9157084"/>
                <a:gd name="connsiteX3" fmla="*/ 0 w 2284913"/>
                <a:gd name="connsiteY3" fmla="*/ 9157084 h 91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913" h="9157084">
                  <a:moveTo>
                    <a:pt x="1" y="0"/>
                  </a:moveTo>
                  <a:lnTo>
                    <a:pt x="2284913" y="2284913"/>
                  </a:lnTo>
                  <a:lnTo>
                    <a:pt x="2284913" y="6872172"/>
                  </a:lnTo>
                  <a:lnTo>
                    <a:pt x="0" y="9157084"/>
                  </a:lnTo>
                  <a:close/>
                </a:path>
              </a:pathLst>
            </a:custGeom>
            <a:gradFill>
              <a:gsLst>
                <a:gs pos="24000">
                  <a:srgbClr val="7F35AB"/>
                </a:gs>
                <a:gs pos="87000">
                  <a:srgbClr val="264088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D3A6683-B1EA-4507-96A9-030793602B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753830" y="1674737"/>
              <a:ext cx="970552" cy="6485190"/>
            </a:xfrm>
            <a:custGeom>
              <a:avLst/>
              <a:gdLst>
                <a:gd name="connsiteX0" fmla="*/ 1 w 970552"/>
                <a:gd name="connsiteY0" fmla="*/ 0 h 6485190"/>
                <a:gd name="connsiteX1" fmla="*/ 970552 w 970552"/>
                <a:gd name="connsiteY1" fmla="*/ 970551 h 6485190"/>
                <a:gd name="connsiteX2" fmla="*/ 970552 w 970552"/>
                <a:gd name="connsiteY2" fmla="*/ 5514638 h 6485190"/>
                <a:gd name="connsiteX3" fmla="*/ 0 w 970552"/>
                <a:gd name="connsiteY3" fmla="*/ 6485190 h 648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6485190">
                  <a:moveTo>
                    <a:pt x="1" y="0"/>
                  </a:moveTo>
                  <a:lnTo>
                    <a:pt x="970552" y="970551"/>
                  </a:lnTo>
                  <a:lnTo>
                    <a:pt x="970552" y="5514638"/>
                  </a:lnTo>
                  <a:lnTo>
                    <a:pt x="0" y="6485190"/>
                  </a:lnTo>
                  <a:close/>
                </a:path>
              </a:pathLst>
            </a:custGeom>
            <a:gradFill>
              <a:gsLst>
                <a:gs pos="20000">
                  <a:srgbClr val="7F35AB"/>
                </a:gs>
                <a:gs pos="95000">
                  <a:schemeClr val="bg1"/>
                </a:gs>
                <a:gs pos="74000">
                  <a:schemeClr val="bg1">
                    <a:alpha val="7900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909A2A30-C1F1-4C49-94D5-E4E16E0E0B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6347E559-D276-EB42-99BE-792521944F2A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8424C6A4-7F55-9842-969F-317F913DCB90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96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107" y="938794"/>
            <a:ext cx="6587869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Option 3</a:t>
            </a:r>
            <a:br>
              <a:rPr lang="en-US"/>
            </a:br>
            <a:r>
              <a:rPr lang="en-US"/>
              <a:t>Aqua and Ocean Color Theme</a:t>
            </a:r>
          </a:p>
        </p:txBody>
      </p:sp>
      <p:sp>
        <p:nvSpPr>
          <p:cNvPr id="128" name="Subtitle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</a:t>
            </a:r>
          </a:p>
        </p:txBody>
      </p:sp>
      <p:grpSp>
        <p:nvGrpSpPr>
          <p:cNvPr id="3" name="parallelogram graphics">
            <a:extLst>
              <a:ext uri="{FF2B5EF4-FFF2-40B4-BE49-F238E27FC236}">
                <a16:creationId xmlns:a16="http://schemas.microsoft.com/office/drawing/2014/main" id="{5DD0ED51-EB2B-FA4D-A5E8-5D06AA035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180604" y="3294915"/>
            <a:ext cx="9157084" cy="2284913"/>
            <a:chOff x="5180604" y="3294915"/>
            <a:chExt cx="9157084" cy="228491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C7C29EF-2F18-D94B-B2F7-6E9AFD0EC7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8616689" y="-141170"/>
              <a:ext cx="2284913" cy="9157084"/>
            </a:xfrm>
            <a:custGeom>
              <a:avLst/>
              <a:gdLst>
                <a:gd name="connsiteX0" fmla="*/ 1 w 2284913"/>
                <a:gd name="connsiteY0" fmla="*/ 0 h 9157084"/>
                <a:gd name="connsiteX1" fmla="*/ 2284913 w 2284913"/>
                <a:gd name="connsiteY1" fmla="*/ 2284913 h 9157084"/>
                <a:gd name="connsiteX2" fmla="*/ 2284913 w 2284913"/>
                <a:gd name="connsiteY2" fmla="*/ 6872172 h 9157084"/>
                <a:gd name="connsiteX3" fmla="*/ 0 w 2284913"/>
                <a:gd name="connsiteY3" fmla="*/ 9157084 h 915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4913" h="9157084">
                  <a:moveTo>
                    <a:pt x="1" y="0"/>
                  </a:moveTo>
                  <a:lnTo>
                    <a:pt x="2284913" y="2284913"/>
                  </a:lnTo>
                  <a:lnTo>
                    <a:pt x="2284913" y="6872172"/>
                  </a:lnTo>
                  <a:lnTo>
                    <a:pt x="0" y="9157084"/>
                  </a:lnTo>
                  <a:close/>
                </a:path>
              </a:pathLst>
            </a:custGeom>
            <a:gradFill>
              <a:gsLst>
                <a:gs pos="24000">
                  <a:schemeClr val="accent3"/>
                </a:gs>
                <a:gs pos="87000">
                  <a:schemeClr val="accent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D3A6683-B1EA-4507-96A9-030793602B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753830" y="1674737"/>
              <a:ext cx="970552" cy="6485190"/>
            </a:xfrm>
            <a:custGeom>
              <a:avLst/>
              <a:gdLst>
                <a:gd name="connsiteX0" fmla="*/ 1 w 970552"/>
                <a:gd name="connsiteY0" fmla="*/ 0 h 6485190"/>
                <a:gd name="connsiteX1" fmla="*/ 970552 w 970552"/>
                <a:gd name="connsiteY1" fmla="*/ 970551 h 6485190"/>
                <a:gd name="connsiteX2" fmla="*/ 970552 w 970552"/>
                <a:gd name="connsiteY2" fmla="*/ 5514638 h 6485190"/>
                <a:gd name="connsiteX3" fmla="*/ 0 w 970552"/>
                <a:gd name="connsiteY3" fmla="*/ 6485190 h 648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6485190">
                  <a:moveTo>
                    <a:pt x="1" y="0"/>
                  </a:moveTo>
                  <a:lnTo>
                    <a:pt x="970552" y="970551"/>
                  </a:lnTo>
                  <a:lnTo>
                    <a:pt x="970552" y="5514638"/>
                  </a:lnTo>
                  <a:lnTo>
                    <a:pt x="0" y="6485190"/>
                  </a:lnTo>
                  <a:close/>
                </a:path>
              </a:pathLst>
            </a:custGeom>
            <a:gradFill>
              <a:gsLst>
                <a:gs pos="20000">
                  <a:schemeClr val="accent3"/>
                </a:gs>
                <a:gs pos="95000">
                  <a:schemeClr val="bg1"/>
                </a:gs>
                <a:gs pos="74000">
                  <a:schemeClr val="bg1">
                    <a:alpha val="7900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4B73C7E-880A-5549-9F44-0D93871652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4" name="Copyright" descr="Confidential copyright VMware, Inc. 2021">
            <a:extLst>
              <a:ext uri="{FF2B5EF4-FFF2-40B4-BE49-F238E27FC236}">
                <a16:creationId xmlns:a16="http://schemas.microsoft.com/office/drawing/2014/main" id="{BD7334BA-8EAC-6949-8ABE-D6CC75077F87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274E202C-D42A-664B-A387-688ED8610969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35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hot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23540E6D-7782-A947-A0D7-EF56A1E213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005165" y="1"/>
            <a:ext cx="8183660" cy="6858000"/>
          </a:xfrm>
          <a:prstGeom prst="rect">
            <a:avLst/>
          </a:prstGeom>
        </p:spPr>
      </p:pic>
      <p:grpSp>
        <p:nvGrpSpPr>
          <p:cNvPr id="20" name="Photo parallelogram">
            <a:extLst>
              <a:ext uri="{FF2B5EF4-FFF2-40B4-BE49-F238E27FC236}">
                <a16:creationId xmlns:a16="http://schemas.microsoft.com/office/drawing/2014/main" id="{F72EC879-2EA6-B148-92DF-BAD45E3E213A}"/>
              </a:ext>
            </a:extLst>
          </p:cNvPr>
          <p:cNvGrpSpPr/>
          <p:nvPr userDrawn="1"/>
        </p:nvGrpSpPr>
        <p:grpSpPr>
          <a:xfrm>
            <a:off x="-1" y="-1147317"/>
            <a:ext cx="13073278" cy="9169882"/>
            <a:chOff x="-1" y="-1147317"/>
            <a:chExt cx="13073278" cy="9169882"/>
          </a:xfrm>
        </p:grpSpPr>
        <p:sp>
          <p:nvSpPr>
            <p:cNvPr id="21" name="Freeform: Shape 28">
              <a:extLst>
                <a:ext uri="{FF2B5EF4-FFF2-40B4-BE49-F238E27FC236}">
                  <a16:creationId xmlns:a16="http://schemas.microsoft.com/office/drawing/2014/main" id="{B3E6C007-ABD8-004F-B045-BEB88D729F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046350" y="3334944"/>
              <a:ext cx="970552" cy="4540137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Isosceles Triangle 1">
              <a:extLst>
                <a:ext uri="{FF2B5EF4-FFF2-40B4-BE49-F238E27FC236}">
                  <a16:creationId xmlns:a16="http://schemas.microsoft.com/office/drawing/2014/main" id="{57CB1D1A-227D-9040-AB7C-86ABF97CBC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8943276" y="3622876"/>
              <a:ext cx="3251263" cy="325357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7">
              <a:extLst>
                <a:ext uri="{FF2B5EF4-FFF2-40B4-BE49-F238E27FC236}">
                  <a16:creationId xmlns:a16="http://schemas.microsoft.com/office/drawing/2014/main" id="{B2FE9A9E-4684-3148-8554-74DA936D36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0800000">
              <a:off x="-1" y="-1"/>
              <a:ext cx="10873127" cy="6868836"/>
            </a:xfrm>
            <a:custGeom>
              <a:avLst/>
              <a:gdLst>
                <a:gd name="connsiteX0" fmla="*/ 10873127 w 10873127"/>
                <a:gd name="connsiteY0" fmla="*/ 6868836 h 6868836"/>
                <a:gd name="connsiteX1" fmla="*/ 0 w 10873127"/>
                <a:gd name="connsiteY1" fmla="*/ 6868836 h 6868836"/>
                <a:gd name="connsiteX2" fmla="*/ 6863947 w 10873127"/>
                <a:gd name="connsiteY2" fmla="*/ 0 h 6868836"/>
                <a:gd name="connsiteX3" fmla="*/ 10873127 w 10873127"/>
                <a:gd name="connsiteY3" fmla="*/ 0 h 686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3127" h="6868836">
                  <a:moveTo>
                    <a:pt x="10873127" y="6868836"/>
                  </a:moveTo>
                  <a:lnTo>
                    <a:pt x="0" y="6868836"/>
                  </a:lnTo>
                  <a:lnTo>
                    <a:pt x="6863947" y="0"/>
                  </a:lnTo>
                  <a:lnTo>
                    <a:pt x="108731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Mask">
              <a:extLst>
                <a:ext uri="{FF2B5EF4-FFF2-40B4-BE49-F238E27FC236}">
                  <a16:creationId xmlns:a16="http://schemas.microsoft.com/office/drawing/2014/main" id="{422114DE-537D-5040-95CE-7B50A9F51150}"/>
                </a:ext>
              </a:extLst>
            </p:cNvPr>
            <p:cNvSpPr/>
            <p:nvPr userDrawn="1"/>
          </p:nvSpPr>
          <p:spPr>
            <a:xfrm flipV="1">
              <a:off x="0" y="-1147317"/>
              <a:ext cx="13073277" cy="9169882"/>
            </a:xfrm>
            <a:custGeom>
              <a:avLst/>
              <a:gdLst>
                <a:gd name="connsiteX0" fmla="*/ 0 w 13073277"/>
                <a:gd name="connsiteY0" fmla="*/ 9169882 h 9169882"/>
                <a:gd name="connsiteX1" fmla="*/ 12404785 w 13073277"/>
                <a:gd name="connsiteY1" fmla="*/ 9169882 h 9169882"/>
                <a:gd name="connsiteX2" fmla="*/ 12404785 w 13073277"/>
                <a:gd name="connsiteY2" fmla="*/ 9169882 h 9169882"/>
                <a:gd name="connsiteX3" fmla="*/ 13073277 w 13073277"/>
                <a:gd name="connsiteY3" fmla="*/ 9169882 h 9169882"/>
                <a:gd name="connsiteX4" fmla="*/ 13073277 w 13073277"/>
                <a:gd name="connsiteY4" fmla="*/ 0 h 9169882"/>
                <a:gd name="connsiteX5" fmla="*/ 12188824 w 13073277"/>
                <a:gd name="connsiteY5" fmla="*/ 0 h 9169882"/>
                <a:gd name="connsiteX6" fmla="*/ 12188824 w 13073277"/>
                <a:gd name="connsiteY6" fmla="*/ 8625 h 9169882"/>
                <a:gd name="connsiteX7" fmla="*/ 0 w 13073277"/>
                <a:gd name="connsiteY7" fmla="*/ 8625 h 9169882"/>
                <a:gd name="connsiteX8" fmla="*/ 0 w 13073277"/>
                <a:gd name="connsiteY8" fmla="*/ 1164565 h 9169882"/>
                <a:gd name="connsiteX9" fmla="*/ 12188824 w 13073277"/>
                <a:gd name="connsiteY9" fmla="*/ 1164565 h 9169882"/>
                <a:gd name="connsiteX10" fmla="*/ 12188824 w 13073277"/>
                <a:gd name="connsiteY10" fmla="*/ 8013942 h 9169882"/>
                <a:gd name="connsiteX11" fmla="*/ 0 w 13073277"/>
                <a:gd name="connsiteY11" fmla="*/ 8013942 h 916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73277" h="9169882">
                  <a:moveTo>
                    <a:pt x="0" y="9169882"/>
                  </a:moveTo>
                  <a:lnTo>
                    <a:pt x="12404785" y="9169882"/>
                  </a:lnTo>
                  <a:lnTo>
                    <a:pt x="12404785" y="9169882"/>
                  </a:lnTo>
                  <a:lnTo>
                    <a:pt x="13073277" y="9169882"/>
                  </a:lnTo>
                  <a:lnTo>
                    <a:pt x="13073277" y="0"/>
                  </a:lnTo>
                  <a:lnTo>
                    <a:pt x="12188824" y="0"/>
                  </a:lnTo>
                  <a:lnTo>
                    <a:pt x="12188824" y="8625"/>
                  </a:lnTo>
                  <a:lnTo>
                    <a:pt x="0" y="8625"/>
                  </a:lnTo>
                  <a:lnTo>
                    <a:pt x="0" y="1164565"/>
                  </a:lnTo>
                  <a:lnTo>
                    <a:pt x="12188824" y="1164565"/>
                  </a:lnTo>
                  <a:lnTo>
                    <a:pt x="12188824" y="8013942"/>
                  </a:lnTo>
                  <a:lnTo>
                    <a:pt x="0" y="8013942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Option 7</a:t>
            </a:r>
            <a:br>
              <a:rPr lang="en-US"/>
            </a:br>
            <a:r>
              <a:rPr lang="en-US"/>
              <a:t>with photo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1452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Baby turtles coming out of nest = conservation. Replace text with optional subhead or delete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4569604-923F-E14A-B400-72ABFA856C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EA525EA8-CE01-AC47-A328-ED5914532992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9" name="page number">
            <a:extLst>
              <a:ext uri="{FF2B5EF4-FFF2-40B4-BE49-F238E27FC236}">
                <a16:creationId xmlns:a16="http://schemas.microsoft.com/office/drawing/2014/main" id="{B7596FE4-59D4-0A4E-B5E4-08B14C453988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92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hoto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Image within a parallelogram that speaks to sustainability; image is of a school of fish in the ocean.">
            <a:extLst>
              <a:ext uri="{FF2B5EF4-FFF2-40B4-BE49-F238E27FC236}">
                <a16:creationId xmlns:a16="http://schemas.microsoft.com/office/drawing/2014/main" id="{18A5E8D0-8A67-4648-8412-1CAD64144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5765" y="1"/>
            <a:ext cx="8203060" cy="6857999"/>
          </a:xfrm>
          <a:prstGeom prst="rect">
            <a:avLst/>
          </a:prstGeom>
        </p:spPr>
      </p:pic>
      <p:grpSp>
        <p:nvGrpSpPr>
          <p:cNvPr id="20" name="Photo parallelogram">
            <a:extLst>
              <a:ext uri="{FF2B5EF4-FFF2-40B4-BE49-F238E27FC236}">
                <a16:creationId xmlns:a16="http://schemas.microsoft.com/office/drawing/2014/main" id="{E824C545-4B27-8643-BFAF-E0EB5F397B21}"/>
              </a:ext>
            </a:extLst>
          </p:cNvPr>
          <p:cNvGrpSpPr/>
          <p:nvPr userDrawn="1"/>
        </p:nvGrpSpPr>
        <p:grpSpPr>
          <a:xfrm>
            <a:off x="-1" y="-1147317"/>
            <a:ext cx="13073278" cy="9169882"/>
            <a:chOff x="-1" y="-1147317"/>
            <a:chExt cx="13073278" cy="9169882"/>
          </a:xfrm>
        </p:grpSpPr>
        <p:sp>
          <p:nvSpPr>
            <p:cNvPr id="21" name="Freeform: Shape 28">
              <a:extLst>
                <a:ext uri="{FF2B5EF4-FFF2-40B4-BE49-F238E27FC236}">
                  <a16:creationId xmlns:a16="http://schemas.microsoft.com/office/drawing/2014/main" id="{70DB9740-AE45-BB48-9C2E-05652BE723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2700000">
              <a:off x="9046350" y="3334944"/>
              <a:ext cx="970552" cy="4540137"/>
            </a:xfrm>
            <a:custGeom>
              <a:avLst/>
              <a:gdLst>
                <a:gd name="connsiteX0" fmla="*/ 1 w 970552"/>
                <a:gd name="connsiteY0" fmla="*/ 970551 h 4540137"/>
                <a:gd name="connsiteX1" fmla="*/ 970552 w 970552"/>
                <a:gd name="connsiteY1" fmla="*/ 0 h 4540137"/>
                <a:gd name="connsiteX2" fmla="*/ 970552 w 970552"/>
                <a:gd name="connsiteY2" fmla="*/ 3569585 h 4540137"/>
                <a:gd name="connsiteX3" fmla="*/ 0 w 970552"/>
                <a:gd name="connsiteY3" fmla="*/ 4540137 h 45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552" h="4540137">
                  <a:moveTo>
                    <a:pt x="1" y="970551"/>
                  </a:moveTo>
                  <a:lnTo>
                    <a:pt x="970552" y="0"/>
                  </a:lnTo>
                  <a:lnTo>
                    <a:pt x="970552" y="3569585"/>
                  </a:lnTo>
                  <a:lnTo>
                    <a:pt x="0" y="4540137"/>
                  </a:lnTo>
                  <a:close/>
                </a:path>
              </a:pathLst>
            </a:custGeom>
            <a:gradFill>
              <a:gsLst>
                <a:gs pos="24000">
                  <a:schemeClr val="bg1">
                    <a:alpha val="0"/>
                  </a:schemeClr>
                </a:gs>
                <a:gs pos="78000">
                  <a:schemeClr val="bg1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Isosceles Triangle 1">
              <a:extLst>
                <a:ext uri="{FF2B5EF4-FFF2-40B4-BE49-F238E27FC236}">
                  <a16:creationId xmlns:a16="http://schemas.microsoft.com/office/drawing/2014/main" id="{42FD0D12-FAF4-8B48-82C0-E268E8F67A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8943276" y="3622876"/>
              <a:ext cx="3251263" cy="3253579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7">
              <a:extLst>
                <a:ext uri="{FF2B5EF4-FFF2-40B4-BE49-F238E27FC236}">
                  <a16:creationId xmlns:a16="http://schemas.microsoft.com/office/drawing/2014/main" id="{087E96CC-AEF4-814C-A476-35B6121A9FD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10800000">
              <a:off x="-1" y="-1"/>
              <a:ext cx="10873127" cy="6868836"/>
            </a:xfrm>
            <a:custGeom>
              <a:avLst/>
              <a:gdLst>
                <a:gd name="connsiteX0" fmla="*/ 10873127 w 10873127"/>
                <a:gd name="connsiteY0" fmla="*/ 6868836 h 6868836"/>
                <a:gd name="connsiteX1" fmla="*/ 0 w 10873127"/>
                <a:gd name="connsiteY1" fmla="*/ 6868836 h 6868836"/>
                <a:gd name="connsiteX2" fmla="*/ 6863947 w 10873127"/>
                <a:gd name="connsiteY2" fmla="*/ 0 h 6868836"/>
                <a:gd name="connsiteX3" fmla="*/ 10873127 w 10873127"/>
                <a:gd name="connsiteY3" fmla="*/ 0 h 6868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3127" h="6868836">
                  <a:moveTo>
                    <a:pt x="10873127" y="6868836"/>
                  </a:moveTo>
                  <a:lnTo>
                    <a:pt x="0" y="6868836"/>
                  </a:lnTo>
                  <a:lnTo>
                    <a:pt x="6863947" y="0"/>
                  </a:lnTo>
                  <a:lnTo>
                    <a:pt x="108731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Mask">
              <a:extLst>
                <a:ext uri="{FF2B5EF4-FFF2-40B4-BE49-F238E27FC236}">
                  <a16:creationId xmlns:a16="http://schemas.microsoft.com/office/drawing/2014/main" id="{D7FD1D2C-1AC1-2446-A153-063FE3A70C61}"/>
                </a:ext>
              </a:extLst>
            </p:cNvPr>
            <p:cNvSpPr/>
            <p:nvPr userDrawn="1"/>
          </p:nvSpPr>
          <p:spPr>
            <a:xfrm flipV="1">
              <a:off x="0" y="-1147317"/>
              <a:ext cx="13073277" cy="9169882"/>
            </a:xfrm>
            <a:custGeom>
              <a:avLst/>
              <a:gdLst>
                <a:gd name="connsiteX0" fmla="*/ 0 w 13073277"/>
                <a:gd name="connsiteY0" fmla="*/ 9169882 h 9169882"/>
                <a:gd name="connsiteX1" fmla="*/ 12404785 w 13073277"/>
                <a:gd name="connsiteY1" fmla="*/ 9169882 h 9169882"/>
                <a:gd name="connsiteX2" fmla="*/ 12404785 w 13073277"/>
                <a:gd name="connsiteY2" fmla="*/ 9169882 h 9169882"/>
                <a:gd name="connsiteX3" fmla="*/ 13073277 w 13073277"/>
                <a:gd name="connsiteY3" fmla="*/ 9169882 h 9169882"/>
                <a:gd name="connsiteX4" fmla="*/ 13073277 w 13073277"/>
                <a:gd name="connsiteY4" fmla="*/ 0 h 9169882"/>
                <a:gd name="connsiteX5" fmla="*/ 12188824 w 13073277"/>
                <a:gd name="connsiteY5" fmla="*/ 0 h 9169882"/>
                <a:gd name="connsiteX6" fmla="*/ 12188824 w 13073277"/>
                <a:gd name="connsiteY6" fmla="*/ 8625 h 9169882"/>
                <a:gd name="connsiteX7" fmla="*/ 0 w 13073277"/>
                <a:gd name="connsiteY7" fmla="*/ 8625 h 9169882"/>
                <a:gd name="connsiteX8" fmla="*/ 0 w 13073277"/>
                <a:gd name="connsiteY8" fmla="*/ 1164565 h 9169882"/>
                <a:gd name="connsiteX9" fmla="*/ 12188824 w 13073277"/>
                <a:gd name="connsiteY9" fmla="*/ 1164565 h 9169882"/>
                <a:gd name="connsiteX10" fmla="*/ 12188824 w 13073277"/>
                <a:gd name="connsiteY10" fmla="*/ 8013942 h 9169882"/>
                <a:gd name="connsiteX11" fmla="*/ 0 w 13073277"/>
                <a:gd name="connsiteY11" fmla="*/ 8013942 h 916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73277" h="9169882">
                  <a:moveTo>
                    <a:pt x="0" y="9169882"/>
                  </a:moveTo>
                  <a:lnTo>
                    <a:pt x="12404785" y="9169882"/>
                  </a:lnTo>
                  <a:lnTo>
                    <a:pt x="12404785" y="9169882"/>
                  </a:lnTo>
                  <a:lnTo>
                    <a:pt x="13073277" y="9169882"/>
                  </a:lnTo>
                  <a:lnTo>
                    <a:pt x="13073277" y="0"/>
                  </a:lnTo>
                  <a:lnTo>
                    <a:pt x="12188824" y="0"/>
                  </a:lnTo>
                  <a:lnTo>
                    <a:pt x="12188824" y="8625"/>
                  </a:lnTo>
                  <a:lnTo>
                    <a:pt x="0" y="8625"/>
                  </a:lnTo>
                  <a:lnTo>
                    <a:pt x="0" y="1164565"/>
                  </a:lnTo>
                  <a:lnTo>
                    <a:pt x="12188824" y="1164565"/>
                  </a:lnTo>
                  <a:lnTo>
                    <a:pt x="12188824" y="8013942"/>
                  </a:lnTo>
                  <a:lnTo>
                    <a:pt x="0" y="8013942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108" y="938794"/>
            <a:ext cx="6427626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Section Title Option 8</a:t>
            </a:r>
            <a:br>
              <a:rPr lang="en-US"/>
            </a:br>
            <a:r>
              <a:rPr lang="en-US"/>
              <a:t>with photo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2966" y="2267712"/>
            <a:ext cx="6408402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Underwater view of a school of fish = sustainability. Replace text with optional subhead or delete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03D0671-4AAD-BE48-8940-48D65B6549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6" name="Copyright" descr="Confidential copyright VMware, Inc. 2021">
            <a:extLst>
              <a:ext uri="{FF2B5EF4-FFF2-40B4-BE49-F238E27FC236}">
                <a16:creationId xmlns:a16="http://schemas.microsoft.com/office/drawing/2014/main" id="{163884E4-824D-3146-B61D-4821119E7501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dential   │ © VMware, Inc.</a:t>
            </a:r>
          </a:p>
        </p:txBody>
      </p:sp>
      <p:sp>
        <p:nvSpPr>
          <p:cNvPr id="19" name="page number">
            <a:extLst>
              <a:ext uri="{FF2B5EF4-FFF2-40B4-BE49-F238E27FC236}">
                <a16:creationId xmlns:a16="http://schemas.microsoft.com/office/drawing/2014/main" id="{75CEFF6F-DEAE-124A-A7E8-4A2D776D0794}"/>
              </a:ext>
            </a:extLst>
          </p:cNvPr>
          <p:cNvSpPr txBox="1"/>
          <p:nvPr userDrawn="1"/>
        </p:nvSpPr>
        <p:spPr>
          <a:xfrm>
            <a:off x="11490941" y="6464808"/>
            <a:ext cx="437990" cy="1828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algn="r"/>
            <a:fld id="{7A51DB15-7364-4F0B-A3A0-1309F8830053}" type="slidenum">
              <a:rPr lang="en-US" smtClean="0">
                <a:latin typeface="Arial" panose="020B0604020202020204" pitchFamily="34" charset="0"/>
              </a:rPr>
              <a:pPr lvl="0" algn="r"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73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3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lick to edit title"/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default content style</a:t>
            </a:r>
          </a:p>
        </p:txBody>
      </p:sp>
      <p:sp>
        <p:nvSpPr>
          <p:cNvPr id="3" name="Click to edit content box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eth level</a:t>
            </a:r>
          </a:p>
        </p:txBody>
      </p:sp>
      <p:pic>
        <p:nvPicPr>
          <p:cNvPr id="6" name="Gradient-colored box">
            <a:extLst>
              <a:ext uri="{FF2B5EF4-FFF2-40B4-BE49-F238E27FC236}">
                <a16:creationId xmlns:a16="http://schemas.microsoft.com/office/drawing/2014/main" id="{68450DCA-9700-4C93-9CAA-A9FF31B0A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-1" y="6766560"/>
            <a:ext cx="12188825" cy="95225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13" y="735203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7352030"/>
            <a:ext cx="2741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BD295A3-96FB-4E80-91AF-4225D266C57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D3598D0-20F3-D64A-A86A-110C1B1A8EC4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419085" y="6218399"/>
            <a:ext cx="1539751" cy="557784"/>
          </a:xfrm>
          <a:prstGeom prst="rect">
            <a:avLst/>
          </a:prstGeom>
        </p:spPr>
      </p:pic>
      <p:sp>
        <p:nvSpPr>
          <p:cNvPr id="10" name="Copyright" descr="Confidential copyright VMware, Inc. 2021">
            <a:extLst>
              <a:ext uri="{FF2B5EF4-FFF2-40B4-BE49-F238E27FC236}">
                <a16:creationId xmlns:a16="http://schemas.microsoft.com/office/drawing/2014/main" id="{ED759A84-28CF-E54A-9FD6-F079AA84A625}"/>
              </a:ext>
            </a:extLst>
          </p:cNvPr>
          <p:cNvSpPr txBox="1"/>
          <p:nvPr userDrawn="1"/>
        </p:nvSpPr>
        <p:spPr bwMode="white">
          <a:xfrm flipH="1">
            <a:off x="1974533" y="6462226"/>
            <a:ext cx="172888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VMware, Inc.</a:t>
            </a:r>
          </a:p>
        </p:txBody>
      </p:sp>
    </p:spTree>
    <p:extLst>
      <p:ext uri="{BB962C8B-B14F-4D97-AF65-F5344CB8AC3E}">
        <p14:creationId xmlns:p14="http://schemas.microsoft.com/office/powerpoint/2010/main" val="92814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3941" r:id="rId4"/>
    <p:sldLayoutId id="2147484082" r:id="rId5"/>
    <p:sldLayoutId id="2147484083" r:id="rId6"/>
    <p:sldLayoutId id="2147484084" r:id="rId7"/>
    <p:sldLayoutId id="2147484002" r:id="rId8"/>
    <p:sldLayoutId id="214748400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3949" r:id="rId15"/>
    <p:sldLayoutId id="2147484004" r:id="rId16"/>
    <p:sldLayoutId id="2147484005" r:id="rId17"/>
    <p:sldLayoutId id="2147484006" r:id="rId18"/>
    <p:sldLayoutId id="2147483956" r:id="rId19"/>
    <p:sldLayoutId id="2147483957" r:id="rId20"/>
    <p:sldLayoutId id="2147483958" r:id="rId21"/>
    <p:sldLayoutId id="2147483959" r:id="rId22"/>
    <p:sldLayoutId id="2147484085" r:id="rId23"/>
    <p:sldLayoutId id="2147483960" r:id="rId24"/>
    <p:sldLayoutId id="2147483963" r:id="rId25"/>
    <p:sldLayoutId id="2147483961" r:id="rId26"/>
    <p:sldLayoutId id="2147483962" r:id="rId27"/>
    <p:sldLayoutId id="2147483964" r:id="rId28"/>
    <p:sldLayoutId id="2147483965" r:id="rId29"/>
    <p:sldLayoutId id="2147483966" r:id="rId30"/>
    <p:sldLayoutId id="2147484010" r:id="rId31"/>
    <p:sldLayoutId id="2147484011" r:id="rId32"/>
    <p:sldLayoutId id="2147484012" r:id="rId33"/>
    <p:sldLayoutId id="2147484013" r:id="rId34"/>
    <p:sldLayoutId id="2147484014" r:id="rId35"/>
    <p:sldLayoutId id="2147484016" r:id="rId36"/>
    <p:sldLayoutId id="2147483971" r:id="rId37"/>
    <p:sldLayoutId id="2147483972" r:id="rId38"/>
    <p:sldLayoutId id="2147483973" r:id="rId39"/>
    <p:sldLayoutId id="2147484018" r:id="rId40"/>
    <p:sldLayoutId id="2147484019" r:id="rId41"/>
    <p:sldLayoutId id="2147484020" r:id="rId42"/>
    <p:sldLayoutId id="2147483977" r:id="rId43"/>
    <p:sldLayoutId id="2147483978" r:id="rId44"/>
    <p:sldLayoutId id="2147483979" r:id="rId45"/>
    <p:sldLayoutId id="2147483980" r:id="rId46"/>
    <p:sldLayoutId id="2147483981" r:id="rId47"/>
    <p:sldLayoutId id="2147483982" r:id="rId48"/>
    <p:sldLayoutId id="2147483983" r:id="rId49"/>
    <p:sldLayoutId id="2147483984" r:id="rId50"/>
    <p:sldLayoutId id="2147483985" r:id="rId51"/>
    <p:sldLayoutId id="2147484087" r:id="rId52"/>
    <p:sldLayoutId id="2147484091" r:id="rId53"/>
    <p:sldLayoutId id="2147484092" r:id="rId54"/>
    <p:sldLayoutId id="2147484093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1258888" indent="-111125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6pPr>
      <a:lvl7pPr marL="1379538" indent="-12065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System Font Regular"/>
        <a:buChar char="-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7pPr>
      <a:lvl8pPr marL="1550988" indent="-12065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8pPr>
      <a:lvl9pPr marL="1722438" indent="-12065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SzPct val="90000"/>
        <a:buFont typeface="System Font Regular"/>
        <a:buChar char="-"/>
        <a:tabLst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java.sun.com/javase/6/docs/api/java/util/concurrent/ConcurrentMap.html?is-external=true" TargetMode="External"/><Relationship Id="rId5" Type="http://schemas.openxmlformats.org/officeDocument/2006/relationships/image" Target="../media/image40.wmf"/><Relationship Id="rId4" Type="http://schemas.openxmlformats.org/officeDocument/2006/relationships/image" Target="../media/image39.w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9.wmf"/><Relationship Id="rId4" Type="http://schemas.openxmlformats.org/officeDocument/2006/relationships/image" Target="../media/image40.w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47.gi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0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2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spring.io/spring-framework/docs/current/javadoc-api/org/springframework/cache/annotation/package-summary.htm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gemfire.dev/" TargetMode="External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microsoft.com/office/2007/relationships/hdphoto" Target="../media/hdphoto1.wdp"/><Relationship Id="rId5" Type="http://schemas.openxmlformats.org/officeDocument/2006/relationships/image" Target="../media/image24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sv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10" Type="http://schemas.openxmlformats.org/officeDocument/2006/relationships/image" Target="../media/image37.sv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 title="Title">
            <a:extLst>
              <a:ext uri="{FF2B5EF4-FFF2-40B4-BE49-F238E27FC236}">
                <a16:creationId xmlns:a16="http://schemas.microsoft.com/office/drawing/2014/main" id="{A63C1E39-47A3-4DE2-94D6-ACF90DA5B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096" y="2487551"/>
            <a:ext cx="5115906" cy="1234440"/>
          </a:xfrm>
        </p:spPr>
        <p:txBody>
          <a:bodyPr/>
          <a:lstStyle/>
          <a:p>
            <a:pPr fontAlgn="base"/>
            <a:r>
              <a:rPr lang="en-US" sz="2800" dirty="0">
                <a:latin typeface="Arial"/>
                <a:cs typeface="Arial"/>
              </a:rPr>
              <a:t>VMware Tanzu </a:t>
            </a:r>
            <a:r>
              <a:rPr lang="en-US" sz="2800" dirty="0" err="1">
                <a:latin typeface="Arial"/>
                <a:cs typeface="Arial"/>
              </a:rPr>
              <a:t>GemFire</a:t>
            </a:r>
            <a:r>
              <a:rPr lang="en-US" sz="2800" dirty="0">
                <a:latin typeface="Arial"/>
                <a:cs typeface="Arial"/>
              </a:rPr>
              <a:t> </a:t>
            </a:r>
            <a:br>
              <a:rPr lang="en-US" sz="2800" dirty="0">
                <a:latin typeface="Arial"/>
                <a:cs typeface="Arial"/>
              </a:rPr>
            </a:br>
            <a:r>
              <a:rPr lang="en-US" sz="2800">
                <a:latin typeface="Arial"/>
                <a:cs typeface="Arial"/>
              </a:rPr>
              <a:t>Made Simple with</a:t>
            </a:r>
            <a:br>
              <a:rPr lang="en-US" dirty="0"/>
            </a:br>
            <a:r>
              <a:rPr lang="en-US" sz="2800">
                <a:latin typeface="Arial"/>
                <a:cs typeface="Arial"/>
              </a:rPr>
              <a:t>Spring Caching</a:t>
            </a:r>
            <a:endParaRPr lang="en-US" sz="2800" b="0" i="0">
              <a:effectLst/>
              <a:cs typeface="Arial" panose="020B0604020202020204" pitchFamily="34" charset="0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8789EFD-EBBF-7045-A2A3-4F2E737BF4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36096" y="4284939"/>
            <a:ext cx="5402202" cy="355601"/>
          </a:xfrm>
        </p:spPr>
        <p:txBody>
          <a:bodyPr anchor="b" anchorCtr="0"/>
          <a:lstStyle/>
          <a:p>
            <a:r>
              <a:rPr lang="en-US" b="1"/>
              <a:t>Charlie Black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8317EF-0169-E54C-8983-6C5270B050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36096" y="4533019"/>
            <a:ext cx="5402202" cy="355601"/>
          </a:xfrm>
        </p:spPr>
        <p:txBody>
          <a:bodyPr anchor="b" anchorCtr="0"/>
          <a:lstStyle/>
          <a:p>
            <a:r>
              <a:rPr lang="en-US"/>
              <a:t>Director of Product, VMware GemFire</a:t>
            </a:r>
          </a:p>
        </p:txBody>
      </p:sp>
    </p:spTree>
    <p:extLst>
      <p:ext uri="{BB962C8B-B14F-4D97-AF65-F5344CB8AC3E}">
        <p14:creationId xmlns:p14="http://schemas.microsoft.com/office/powerpoint/2010/main" val="354061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finition: Reg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23495" y="2416460"/>
            <a:ext cx="10440006" cy="1815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700" b="1" dirty="0">
                <a:solidFill>
                  <a:schemeClr val="tx2"/>
                </a:solidFill>
                <a:latin typeface="Arial"/>
                <a:cs typeface="Arial"/>
              </a:rPr>
              <a:t>Region /</a:t>
            </a:r>
            <a:r>
              <a:rPr lang="en-US" sz="3700" b="1" err="1">
                <a:solidFill>
                  <a:schemeClr val="tx2"/>
                </a:solidFill>
                <a:latin typeface="Arial"/>
                <a:cs typeface="Arial"/>
              </a:rPr>
              <a:t>rējən</a:t>
            </a:r>
            <a:r>
              <a:rPr lang="en-US" sz="3700" b="1" dirty="0">
                <a:solidFill>
                  <a:schemeClr val="tx2"/>
                </a:solidFill>
                <a:latin typeface="Arial"/>
                <a:cs typeface="Arial"/>
              </a:rPr>
              <a:t>/</a:t>
            </a:r>
          </a:p>
          <a:p>
            <a:r>
              <a:rPr lang="en-US" sz="3700" dirty="0">
                <a:solidFill>
                  <a:schemeClr val="tx2"/>
                </a:solidFill>
                <a:latin typeface="Arial"/>
                <a:cs typeface="Arial"/>
              </a:rPr>
              <a:t>A </a:t>
            </a:r>
            <a:r>
              <a:rPr lang="en-US" sz="3700" i="1" dirty="0">
                <a:solidFill>
                  <a:schemeClr val="tx2"/>
                </a:solidFill>
                <a:latin typeface="Arial"/>
                <a:cs typeface="Arial"/>
              </a:rPr>
              <a:t>named</a:t>
            </a:r>
            <a:r>
              <a:rPr lang="en-US" sz="3700" dirty="0">
                <a:solidFill>
                  <a:schemeClr val="tx2"/>
                </a:solidFill>
                <a:latin typeface="Arial"/>
                <a:cs typeface="Arial"/>
              </a:rPr>
              <a:t> concurrent map of which holds key value pairs.</a:t>
            </a:r>
          </a:p>
        </p:txBody>
      </p:sp>
    </p:spTree>
    <p:extLst>
      <p:ext uri="{BB962C8B-B14F-4D97-AF65-F5344CB8AC3E}">
        <p14:creationId xmlns:p14="http://schemas.microsoft.com/office/powerpoint/2010/main" val="346097371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3"/>
          <p:cNvGrpSpPr/>
          <p:nvPr/>
        </p:nvGrpSpPr>
        <p:grpSpPr>
          <a:xfrm>
            <a:off x="1376158" y="1692733"/>
            <a:ext cx="2874232" cy="1661680"/>
            <a:chOff x="1032382" y="1393032"/>
            <a:chExt cx="2156236" cy="1246585"/>
          </a:xfrm>
        </p:grpSpPr>
        <p:grpSp>
          <p:nvGrpSpPr>
            <p:cNvPr id="3" name="Group 67"/>
            <p:cNvGrpSpPr/>
            <p:nvPr/>
          </p:nvGrpSpPr>
          <p:grpSpPr>
            <a:xfrm>
              <a:off x="1032382" y="1393032"/>
              <a:ext cx="2156236" cy="1246585"/>
              <a:chOff x="3467100" y="1393032"/>
              <a:chExt cx="2156236" cy="1246585"/>
            </a:xfrm>
          </p:grpSpPr>
          <p:sp>
            <p:nvSpPr>
              <p:cNvPr id="603140" name="Rectangle 4"/>
              <p:cNvSpPr>
                <a:spLocks noChangeArrowheads="1"/>
              </p:cNvSpPr>
              <p:nvPr/>
            </p:nvSpPr>
            <p:spPr bwMode="auto">
              <a:xfrm>
                <a:off x="3467100" y="1404938"/>
                <a:ext cx="2156236" cy="12346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03141" name="Text Box 5"/>
              <p:cNvSpPr txBox="1">
                <a:spLocks noChangeArrowheads="1"/>
              </p:cNvSpPr>
              <p:nvPr/>
            </p:nvSpPr>
            <p:spPr bwMode="auto">
              <a:xfrm>
                <a:off x="4851350" y="1393032"/>
                <a:ext cx="706146" cy="20780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marL="228543" indent="-228543"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</a:pPr>
                <a:r>
                  <a:rPr lang="en-US" sz="1200" b="1">
                    <a:latin typeface="Arial" panose="020B0604020202020204" pitchFamily="34" charset="0"/>
                  </a:rPr>
                  <a:t>Some App</a:t>
                </a:r>
              </a:p>
            </p:txBody>
          </p:sp>
        </p:grpSp>
        <p:pic>
          <p:nvPicPr>
            <p:cNvPr id="83" name="Picture 82" descr="order managment app.jpg"/>
            <p:cNvPicPr>
              <a:picLocks noChangeAspect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>
            <a:xfrm>
              <a:off x="1419225" y="1508455"/>
              <a:ext cx="771525" cy="448932"/>
            </a:xfrm>
            <a:prstGeom prst="rect">
              <a:avLst/>
            </a:prstGeom>
          </p:spPr>
        </p:pic>
      </p:grpSp>
      <p:sp>
        <p:nvSpPr>
          <p:cNvPr id="6031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does it work?</a:t>
            </a:r>
          </a:p>
        </p:txBody>
      </p:sp>
      <p:grpSp>
        <p:nvGrpSpPr>
          <p:cNvPr id="5" name="Group 78"/>
          <p:cNvGrpSpPr/>
          <p:nvPr/>
        </p:nvGrpSpPr>
        <p:grpSpPr>
          <a:xfrm>
            <a:off x="1377588" y="3257597"/>
            <a:ext cx="2872797" cy="1742623"/>
            <a:chOff x="1033459" y="2566988"/>
            <a:chExt cx="2155159" cy="1307308"/>
          </a:xfrm>
        </p:grpSpPr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1033558" y="2639617"/>
              <a:ext cx="2155060" cy="12346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603161" name="Rectangle 25"/>
            <p:cNvSpPr>
              <a:spLocks noChangeArrowheads="1"/>
            </p:cNvSpPr>
            <p:nvPr/>
          </p:nvSpPr>
          <p:spPr bwMode="auto">
            <a:xfrm>
              <a:off x="1038320" y="2606283"/>
              <a:ext cx="2144330" cy="110333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cxnSp>
          <p:nvCxnSpPr>
            <p:cNvPr id="77" name="Straight Connector 76"/>
            <p:cNvCxnSpPr/>
            <p:nvPr/>
          </p:nvCxnSpPr>
          <p:spPr bwMode="auto">
            <a:xfrm rot="5400000">
              <a:off x="920350" y="2680097"/>
              <a:ext cx="226218" cy="0"/>
            </a:xfrm>
            <a:prstGeom prst="line">
              <a:avLst/>
            </a:prstGeom>
            <a:solidFill>
              <a:srgbClr val="0095D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Straight Connector 77"/>
            <p:cNvCxnSpPr/>
            <p:nvPr/>
          </p:nvCxnSpPr>
          <p:spPr bwMode="auto">
            <a:xfrm rot="5400000">
              <a:off x="3075509" y="2680097"/>
              <a:ext cx="226218" cy="0"/>
            </a:xfrm>
            <a:prstGeom prst="line">
              <a:avLst/>
            </a:prstGeom>
            <a:solidFill>
              <a:srgbClr val="0095D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03180" name="AutoShape 44"/>
          <p:cNvSpPr>
            <a:spLocks noChangeArrowheads="1"/>
          </p:cNvSpPr>
          <p:nvPr/>
        </p:nvSpPr>
        <p:spPr bwMode="auto">
          <a:xfrm>
            <a:off x="1509474" y="3835294"/>
            <a:ext cx="2611286" cy="441210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228543" indent="-228543" algn="ctr"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</a:rPr>
              <a:t>Region</a:t>
            </a:r>
          </a:p>
        </p:txBody>
      </p:sp>
      <p:grpSp>
        <p:nvGrpSpPr>
          <p:cNvPr id="17" name="Group 72"/>
          <p:cNvGrpSpPr/>
          <p:nvPr/>
        </p:nvGrpSpPr>
        <p:grpSpPr>
          <a:xfrm>
            <a:off x="3344145" y="3102065"/>
            <a:ext cx="285676" cy="723711"/>
            <a:chOff x="4943477" y="2450308"/>
            <a:chExt cx="214313" cy="542925"/>
          </a:xfrm>
        </p:grpSpPr>
        <p:sp>
          <p:nvSpPr>
            <p:cNvPr id="18" name="Arc 40"/>
            <p:cNvSpPr>
              <a:spLocks/>
            </p:cNvSpPr>
            <p:nvPr/>
          </p:nvSpPr>
          <p:spPr bwMode="auto">
            <a:xfrm flipV="1">
              <a:off x="4943477" y="2828927"/>
              <a:ext cx="214313" cy="164306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9" name="Line 41"/>
            <p:cNvSpPr>
              <a:spLocks noChangeShapeType="1"/>
            </p:cNvSpPr>
            <p:nvPr/>
          </p:nvSpPr>
          <p:spPr bwMode="auto">
            <a:xfrm flipV="1">
              <a:off x="5157789" y="2450308"/>
              <a:ext cx="0" cy="37861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</p:grpSp>
      <p:grpSp>
        <p:nvGrpSpPr>
          <p:cNvPr id="20" name="Group 71"/>
          <p:cNvGrpSpPr/>
          <p:nvPr/>
        </p:nvGrpSpPr>
        <p:grpSpPr>
          <a:xfrm>
            <a:off x="2736814" y="2751318"/>
            <a:ext cx="607328" cy="1074459"/>
            <a:chOff x="4487864" y="2187180"/>
            <a:chExt cx="455615" cy="806054"/>
          </a:xfrm>
        </p:grpSpPr>
        <p:sp>
          <p:nvSpPr>
            <p:cNvPr id="21" name="Arc 39"/>
            <p:cNvSpPr>
              <a:spLocks/>
            </p:cNvSpPr>
            <p:nvPr/>
          </p:nvSpPr>
          <p:spPr bwMode="auto">
            <a:xfrm rot="5400000" flipV="1">
              <a:off x="4748911" y="2798665"/>
              <a:ext cx="170854" cy="21828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" name="Line 42"/>
            <p:cNvSpPr>
              <a:spLocks noChangeShapeType="1"/>
            </p:cNvSpPr>
            <p:nvPr/>
          </p:nvSpPr>
          <p:spPr bwMode="auto">
            <a:xfrm flipV="1">
              <a:off x="4724402" y="2187180"/>
              <a:ext cx="0" cy="64174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3" name="Text Box 43"/>
            <p:cNvSpPr txBox="1">
              <a:spLocks noChangeArrowheads="1"/>
            </p:cNvSpPr>
            <p:nvPr/>
          </p:nvSpPr>
          <p:spPr bwMode="auto">
            <a:xfrm>
              <a:off x="4487864" y="2576514"/>
              <a:ext cx="435570" cy="1616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marL="228543" indent="-228543"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</a:pPr>
              <a:r>
                <a:rPr lang="en-US" sz="800" b="1">
                  <a:latin typeface="Arial" panose="020B0604020202020204" pitchFamily="34" charset="0"/>
                </a:rPr>
                <a:t>get(key)</a:t>
              </a:r>
            </a:p>
          </p:txBody>
        </p:sp>
      </p:grpSp>
      <p:grpSp>
        <p:nvGrpSpPr>
          <p:cNvPr id="24" name="Group 45"/>
          <p:cNvGrpSpPr>
            <a:grpSpLocks/>
          </p:cNvGrpSpPr>
          <p:nvPr/>
        </p:nvGrpSpPr>
        <p:grpSpPr bwMode="auto">
          <a:xfrm>
            <a:off x="1653366" y="2997314"/>
            <a:ext cx="869723" cy="828459"/>
            <a:chOff x="2237" y="2226"/>
            <a:chExt cx="411" cy="522"/>
          </a:xfrm>
        </p:grpSpPr>
        <p:sp>
          <p:nvSpPr>
            <p:cNvPr id="25" name="Line 46"/>
            <p:cNvSpPr>
              <a:spLocks noChangeShapeType="1"/>
            </p:cNvSpPr>
            <p:nvPr/>
          </p:nvSpPr>
          <p:spPr bwMode="auto">
            <a:xfrm>
              <a:off x="2463" y="2226"/>
              <a:ext cx="0" cy="52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6" name="Text Box 47"/>
            <p:cNvSpPr txBox="1">
              <a:spLocks noChangeArrowheads="1"/>
            </p:cNvSpPr>
            <p:nvPr/>
          </p:nvSpPr>
          <p:spPr bwMode="auto">
            <a:xfrm>
              <a:off x="2237" y="2398"/>
              <a:ext cx="411" cy="13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marL="228543" indent="-228543"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</a:pPr>
              <a:r>
                <a:rPr lang="en-US" sz="800" b="1">
                  <a:latin typeface="Arial" panose="020B0604020202020204" pitchFamily="34" charset="0"/>
                </a:rPr>
                <a:t>put(</a:t>
              </a:r>
              <a:r>
                <a:rPr lang="en-US" sz="800" b="1" err="1">
                  <a:latin typeface="Arial" panose="020B0604020202020204" pitchFamily="34" charset="0"/>
                </a:rPr>
                <a:t>key,value</a:t>
              </a:r>
              <a:r>
                <a:rPr lang="en-US" sz="800" b="1">
                  <a:latin typeface="Arial" panose="020B0604020202020204" pitchFamily="34" charset="0"/>
                </a:rPr>
                <a:t>)</a:t>
              </a:r>
            </a:p>
          </p:txBody>
        </p:sp>
      </p:grpSp>
      <p:pic>
        <p:nvPicPr>
          <p:cNvPr id="27" name="Picture 20" descr="MCDD01775_0000[1]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51868" y="2554565"/>
            <a:ext cx="200512" cy="185546"/>
          </a:xfrm>
          <a:prstGeom prst="rect">
            <a:avLst/>
          </a:prstGeom>
          <a:noFill/>
        </p:spPr>
      </p:pic>
      <p:grpSp>
        <p:nvGrpSpPr>
          <p:cNvPr id="28" name="Group 69"/>
          <p:cNvGrpSpPr/>
          <p:nvPr/>
        </p:nvGrpSpPr>
        <p:grpSpPr>
          <a:xfrm>
            <a:off x="1587771" y="2522768"/>
            <a:ext cx="817932" cy="657053"/>
            <a:chOff x="3625850" y="2015724"/>
            <a:chExt cx="613609" cy="492918"/>
          </a:xfrm>
        </p:grpSpPr>
        <p:sp>
          <p:nvSpPr>
            <p:cNvPr id="29" name="Line 10"/>
            <p:cNvSpPr>
              <a:spLocks noChangeShapeType="1"/>
            </p:cNvSpPr>
            <p:nvPr/>
          </p:nvSpPr>
          <p:spPr bwMode="auto">
            <a:xfrm>
              <a:off x="3761230" y="2095972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30" name="Picture 20" descr="MCDD01775_0000[1]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3625850" y="2026373"/>
              <a:ext cx="150423" cy="139196"/>
            </a:xfrm>
            <a:prstGeom prst="rect">
              <a:avLst/>
            </a:prstGeom>
            <a:noFill/>
          </p:spPr>
        </p:pic>
        <p:grpSp>
          <p:nvGrpSpPr>
            <p:cNvPr id="31" name="Group 26"/>
            <p:cNvGrpSpPr>
              <a:grpSpLocks/>
            </p:cNvGrpSpPr>
            <p:nvPr/>
          </p:nvGrpSpPr>
          <p:grpSpPr bwMode="auto">
            <a:xfrm>
              <a:off x="3828199" y="2015724"/>
              <a:ext cx="411268" cy="492918"/>
              <a:chOff x="2980" y="2203"/>
              <a:chExt cx="349" cy="414"/>
            </a:xfrm>
          </p:grpSpPr>
          <p:pic>
            <p:nvPicPr>
              <p:cNvPr id="32" name="Picture 27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047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3" name="Picture 28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46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4" name="Picture 29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047" y="2368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5" name="Picture 30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212" y="2203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6" name="Picture 31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212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7" name="Picture 32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212" y="2335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8" name="Picture 33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13" y="2434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39" name="Picture 34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79" y="2500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40" name="Picture 35" descr="MCED00214_0000[1]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2980" y="2218"/>
                <a:ext cx="118" cy="117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53" name="TextBox 52"/>
          <p:cNvSpPr txBox="1"/>
          <p:nvPr/>
        </p:nvSpPr>
        <p:spPr>
          <a:xfrm>
            <a:off x="5332618" y="5536655"/>
            <a:ext cx="4647426" cy="10357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66">
                <a:solidFill>
                  <a:srgbClr val="333333"/>
                </a:solidFill>
                <a:latin typeface="Arial" panose="020B0604020202020204" pitchFamily="34" charset="0"/>
              </a:rPr>
              <a:t>Regions implement </a:t>
            </a:r>
            <a:r>
              <a:rPr lang="en-US" sz="1866">
                <a:latin typeface="Arial" panose="020B0604020202020204" pitchFamily="34" charset="0"/>
                <a:hlinkClick r:id="rId6" tooltip="class or interface in java.util.concurrent"/>
              </a:rPr>
              <a:t>ConcurrentMap</a:t>
            </a:r>
            <a:r>
              <a:rPr lang="en-US" sz="1866">
                <a:latin typeface="Arial" panose="020B0604020202020204" pitchFamily="34" charset="0"/>
              </a:rPr>
              <a:t>&lt;K,V&gt;</a:t>
            </a:r>
          </a:p>
          <a:p>
            <a:endParaRPr lang="en-US" sz="2399" i="1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en-US" sz="1866" i="1">
                <a:solidFill>
                  <a:srgbClr val="333333"/>
                </a:solidFill>
                <a:latin typeface="Arial" panose="020B0604020202020204" pitchFamily="34" charset="0"/>
              </a:rPr>
              <a:t>aka </a:t>
            </a:r>
            <a:r>
              <a:rPr lang="mr-IN" sz="1866" i="1">
                <a:solidFill>
                  <a:srgbClr val="333333"/>
                </a:solidFill>
                <a:latin typeface="Arial" panose="020B0604020202020204" pitchFamily="34" charset="0"/>
              </a:rPr>
              <a:t>–</a:t>
            </a:r>
            <a:r>
              <a:rPr lang="en-US" sz="1866" i="1">
                <a:solidFill>
                  <a:srgbClr val="333333"/>
                </a:solidFill>
                <a:latin typeface="Arial" panose="020B0604020202020204" pitchFamily="34" charset="0"/>
              </a:rPr>
              <a:t> Key Value Store 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2977003" y="3729821"/>
            <a:ext cx="819055" cy="659366"/>
            <a:chOff x="3533069" y="1887533"/>
            <a:chExt cx="614451" cy="494653"/>
          </a:xfrm>
        </p:grpSpPr>
        <p:sp>
          <p:nvSpPr>
            <p:cNvPr id="56" name="Line 10"/>
            <p:cNvSpPr>
              <a:spLocks noChangeShapeType="1"/>
            </p:cNvSpPr>
            <p:nvPr/>
          </p:nvSpPr>
          <p:spPr bwMode="auto">
            <a:xfrm>
              <a:off x="3668449" y="1972147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57" name="Picture 20" descr="MCDD01775_0000[1]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3533069" y="1902548"/>
              <a:ext cx="150423" cy="139196"/>
            </a:xfrm>
            <a:prstGeom prst="rect">
              <a:avLst/>
            </a:prstGeom>
            <a:noFill/>
          </p:spPr>
        </p:pic>
        <p:sp>
          <p:nvSpPr>
            <p:cNvPr id="58" name="Oval 57"/>
            <p:cNvSpPr/>
            <p:nvPr/>
          </p:nvSpPr>
          <p:spPr bwMode="auto">
            <a:xfrm>
              <a:off x="3808442" y="19637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 bwMode="auto">
            <a:xfrm>
              <a:off x="3925917" y="196690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 bwMode="auto">
            <a:xfrm>
              <a:off x="4005292" y="18875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 bwMode="auto">
            <a:xfrm>
              <a:off x="4008467" y="19732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Oval 61"/>
            <p:cNvSpPr/>
            <p:nvPr/>
          </p:nvSpPr>
          <p:spPr bwMode="auto">
            <a:xfrm>
              <a:off x="4005292" y="20526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Oval 62"/>
            <p:cNvSpPr/>
            <p:nvPr/>
          </p:nvSpPr>
          <p:spPr bwMode="auto">
            <a:xfrm>
              <a:off x="3808442" y="20875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Oval 63"/>
            <p:cNvSpPr/>
            <p:nvPr/>
          </p:nvSpPr>
          <p:spPr bwMode="auto">
            <a:xfrm>
              <a:off x="3887817" y="21637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Oval 64"/>
            <p:cNvSpPr/>
            <p:nvPr/>
          </p:nvSpPr>
          <p:spPr bwMode="auto">
            <a:xfrm>
              <a:off x="3967192" y="22431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Oval 65"/>
            <p:cNvSpPr/>
            <p:nvPr/>
          </p:nvSpPr>
          <p:spPr bwMode="auto">
            <a:xfrm>
              <a:off x="3732242" y="190340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2977003" y="3729821"/>
            <a:ext cx="819055" cy="659366"/>
            <a:chOff x="3533069" y="1887533"/>
            <a:chExt cx="614451" cy="494653"/>
          </a:xfrm>
        </p:grpSpPr>
        <p:sp>
          <p:nvSpPr>
            <p:cNvPr id="68" name="Line 10"/>
            <p:cNvSpPr>
              <a:spLocks noChangeShapeType="1"/>
            </p:cNvSpPr>
            <p:nvPr/>
          </p:nvSpPr>
          <p:spPr bwMode="auto">
            <a:xfrm>
              <a:off x="3668449" y="1972147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69" name="Picture 20" descr="MCDD01775_0000[1]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3533069" y="1902548"/>
              <a:ext cx="150423" cy="139196"/>
            </a:xfrm>
            <a:prstGeom prst="rect">
              <a:avLst/>
            </a:prstGeom>
            <a:noFill/>
          </p:spPr>
        </p:pic>
        <p:sp>
          <p:nvSpPr>
            <p:cNvPr id="70" name="Oval 69"/>
            <p:cNvSpPr/>
            <p:nvPr/>
          </p:nvSpPr>
          <p:spPr bwMode="auto">
            <a:xfrm>
              <a:off x="3808442" y="19637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Oval 70"/>
            <p:cNvSpPr/>
            <p:nvPr/>
          </p:nvSpPr>
          <p:spPr bwMode="auto">
            <a:xfrm>
              <a:off x="3925917" y="196690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Oval 71"/>
            <p:cNvSpPr/>
            <p:nvPr/>
          </p:nvSpPr>
          <p:spPr bwMode="auto">
            <a:xfrm>
              <a:off x="4005292" y="18875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Oval 72"/>
            <p:cNvSpPr/>
            <p:nvPr/>
          </p:nvSpPr>
          <p:spPr bwMode="auto">
            <a:xfrm>
              <a:off x="4008467" y="19732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Oval 74"/>
            <p:cNvSpPr/>
            <p:nvPr/>
          </p:nvSpPr>
          <p:spPr bwMode="auto">
            <a:xfrm>
              <a:off x="4005292" y="20526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Oval 75"/>
            <p:cNvSpPr/>
            <p:nvPr/>
          </p:nvSpPr>
          <p:spPr bwMode="auto">
            <a:xfrm>
              <a:off x="3808442" y="20875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Oval 78"/>
            <p:cNvSpPr/>
            <p:nvPr/>
          </p:nvSpPr>
          <p:spPr bwMode="auto">
            <a:xfrm>
              <a:off x="3887817" y="216375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967192" y="2243133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3732242" y="1903408"/>
              <a:ext cx="139053" cy="139053"/>
            </a:xfrm>
            <a:prstGeom prst="ellipse">
              <a:avLst/>
            </a:prstGeom>
            <a:gradFill flip="none" rotWithShape="1">
              <a:gsLst>
                <a:gs pos="0">
                  <a:srgbClr val="FFFFFF"/>
                </a:gs>
                <a:gs pos="75000">
                  <a:srgbClr val="00FF00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defTabSz="1218895"/>
              <a:endParaRPr lang="en-US" sz="2399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4856850" y="4030668"/>
            <a:ext cx="6958373" cy="58477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>
                <a:latin typeface="Hack Regular"/>
                <a:cs typeface="Hack Regular"/>
              </a:rPr>
              <a:t>// Retrieve a customer record  from the cache</a:t>
            </a:r>
          </a:p>
          <a:p>
            <a:r>
              <a:rPr lang="en-US" sz="1600" b="1">
                <a:latin typeface="Hack Regular"/>
                <a:cs typeface="Hack Regular"/>
              </a:rPr>
              <a:t>Customer </a:t>
            </a:r>
            <a:r>
              <a:rPr lang="en-US" sz="1600" b="1" err="1">
                <a:latin typeface="Hack Regular"/>
                <a:cs typeface="Hack Regular"/>
              </a:rPr>
              <a:t>customerY</a:t>
            </a:r>
            <a:r>
              <a:rPr lang="en-US" sz="1600" b="1">
                <a:latin typeface="Hack Regular"/>
                <a:cs typeface="Hack Regular"/>
              </a:rPr>
              <a:t> = </a:t>
            </a:r>
            <a:r>
              <a:rPr lang="en-US" sz="1600" b="1" err="1">
                <a:latin typeface="Hack Regular"/>
                <a:cs typeface="Hack Regular"/>
              </a:rPr>
              <a:t>customerRegion</a:t>
            </a:r>
            <a:r>
              <a:rPr lang="en-US" sz="1600" b="1">
                <a:latin typeface="Hack Regular"/>
                <a:cs typeface="Hack Regular"/>
              </a:rPr>
              <a:t> .get(</a:t>
            </a:r>
            <a:r>
              <a:rPr lang="en-US" sz="1600" b="1" err="1">
                <a:latin typeface="Hack Regular"/>
                <a:cs typeface="Hack Regular"/>
              </a:rPr>
              <a:t>customerIdY</a:t>
            </a:r>
            <a:r>
              <a:rPr lang="en-US" sz="1600" b="1">
                <a:latin typeface="Hack Regular"/>
                <a:cs typeface="Hack Regular"/>
              </a:rPr>
              <a:t>);</a:t>
            </a:r>
          </a:p>
        </p:txBody>
      </p:sp>
      <p:sp>
        <p:nvSpPr>
          <p:cNvPr id="6" name="Rectangle 5"/>
          <p:cNvSpPr/>
          <p:nvPr/>
        </p:nvSpPr>
        <p:spPr>
          <a:xfrm>
            <a:off x="4856849" y="2085013"/>
            <a:ext cx="6958374" cy="58477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>
                <a:latin typeface="Hack Regular"/>
                <a:cs typeface="Hack Regular"/>
              </a:rPr>
              <a:t>// Insert or update a customer record into the cache</a:t>
            </a:r>
          </a:p>
          <a:p>
            <a:r>
              <a:rPr lang="en-US" sz="1600" b="1" err="1">
                <a:latin typeface="Hack Regular"/>
                <a:cs typeface="Hack Regular"/>
              </a:rPr>
              <a:t>customerRegion</a:t>
            </a:r>
            <a:r>
              <a:rPr lang="en-US" sz="1600" b="1">
                <a:latin typeface="Hack Regular"/>
                <a:cs typeface="Hack Regular"/>
              </a:rPr>
              <a:t> .put(</a:t>
            </a:r>
            <a:r>
              <a:rPr lang="en-US" sz="1600" b="1" err="1">
                <a:latin typeface="Hack Regular"/>
                <a:cs typeface="Hack Regular"/>
              </a:rPr>
              <a:t>customerIdX</a:t>
            </a:r>
            <a:r>
              <a:rPr lang="en-US" sz="1600" b="1">
                <a:latin typeface="Hack Regular"/>
                <a:cs typeface="Hack Regular"/>
              </a:rPr>
              <a:t>, </a:t>
            </a:r>
            <a:r>
              <a:rPr lang="en-US" sz="1600" b="1" err="1">
                <a:latin typeface="Hack Regular"/>
                <a:cs typeface="Hack Regular"/>
              </a:rPr>
              <a:t>customerObjX</a:t>
            </a:r>
            <a:r>
              <a:rPr lang="en-US" sz="1600" b="1">
                <a:latin typeface="Hack Regular"/>
                <a:cs typeface="Hack Regular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75896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ea"/>
                <a:cs typeface="+mj-cs"/>
              </a:rPr>
              <a:t>How does it work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86072" y="1372699"/>
            <a:ext cx="11049295" cy="41126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700" b="1" dirty="0">
                <a:solidFill>
                  <a:schemeClr val="tx2"/>
                </a:solidFill>
                <a:latin typeface="Arial"/>
                <a:cs typeface="Arial"/>
              </a:rPr>
              <a:t>Query Language: OQL </a:t>
            </a:r>
            <a:r>
              <a:rPr lang="en-US" sz="3150" b="1" dirty="0">
                <a:solidFill>
                  <a:schemeClr val="tx2"/>
                </a:solidFill>
                <a:latin typeface="Arial"/>
                <a:cs typeface="Arial"/>
              </a:rPr>
              <a:t>(Object Query Language)</a:t>
            </a:r>
          </a:p>
          <a:p>
            <a:endParaRPr lang="en-US" sz="3700" b="1" dirty="0">
              <a:solidFill>
                <a:schemeClr val="tx2"/>
              </a:solidFill>
              <a:latin typeface="Arial" panose="020B0604020202020204" pitchFamily="34" charset="0"/>
              <a:cs typeface="Arial"/>
            </a:endParaRPr>
          </a:p>
          <a:p>
            <a:r>
              <a:rPr lang="en-US" sz="3700" b="1" dirty="0">
                <a:solidFill>
                  <a:schemeClr val="tx2"/>
                </a:solidFill>
                <a:latin typeface="Hack Regular"/>
                <a:cs typeface="Hack Regular"/>
              </a:rPr>
              <a:t>SELECT 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p, pos </a:t>
            </a:r>
          </a:p>
          <a:p>
            <a:endParaRPr lang="en-US" sz="3700" dirty="0">
              <a:solidFill>
                <a:schemeClr val="tx2"/>
              </a:solidFill>
              <a:latin typeface="Hack Regular"/>
              <a:cs typeface="Hack Regular"/>
            </a:endParaRPr>
          </a:p>
          <a:p>
            <a:r>
              <a:rPr lang="en-US" sz="3700" b="1" dirty="0">
                <a:solidFill>
                  <a:schemeClr val="tx2"/>
                </a:solidFill>
                <a:latin typeface="Hack Regular"/>
                <a:cs typeface="Hack Regular"/>
              </a:rPr>
              <a:t>FROM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 /</a:t>
            </a:r>
            <a:r>
              <a:rPr lang="en-US" sz="3700" err="1">
                <a:solidFill>
                  <a:schemeClr val="tx2"/>
                </a:solidFill>
                <a:latin typeface="Hack Regular"/>
                <a:cs typeface="Hack Regular"/>
              </a:rPr>
              <a:t>exampleRegion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 p, </a:t>
            </a:r>
            <a:r>
              <a:rPr lang="en-US" sz="3700" err="1">
                <a:solidFill>
                  <a:schemeClr val="tx2"/>
                </a:solidFill>
                <a:latin typeface="Hack Regular"/>
                <a:cs typeface="Hack Regular"/>
              </a:rPr>
              <a:t>p.positions.values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 pos </a:t>
            </a:r>
          </a:p>
          <a:p>
            <a:endParaRPr lang="en-US" sz="3700" dirty="0">
              <a:solidFill>
                <a:schemeClr val="tx2"/>
              </a:solidFill>
              <a:latin typeface="Hack Regular"/>
              <a:cs typeface="Hack Regular"/>
            </a:endParaRPr>
          </a:p>
          <a:p>
            <a:r>
              <a:rPr lang="en-US" sz="3700" b="1" dirty="0">
                <a:solidFill>
                  <a:schemeClr val="tx2"/>
                </a:solidFill>
                <a:latin typeface="Hack Regular"/>
                <a:cs typeface="Hack Regular"/>
              </a:rPr>
              <a:t>WHERE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 </a:t>
            </a:r>
            <a:r>
              <a:rPr lang="en-US" sz="3700" err="1">
                <a:solidFill>
                  <a:schemeClr val="tx2"/>
                </a:solidFill>
                <a:latin typeface="Hack Regular"/>
                <a:cs typeface="Hack Regular"/>
              </a:rPr>
              <a:t>pos.secId</a:t>
            </a:r>
            <a:r>
              <a:rPr lang="en-US" sz="3700" dirty="0">
                <a:solidFill>
                  <a:schemeClr val="tx2"/>
                </a:solidFill>
                <a:latin typeface="Hack Regular"/>
                <a:cs typeface="Hack Regular"/>
              </a:rPr>
              <a:t> = ‘VMW'</a:t>
            </a:r>
          </a:p>
        </p:txBody>
      </p:sp>
    </p:spTree>
    <p:extLst>
      <p:ext uri="{BB962C8B-B14F-4D97-AF65-F5344CB8AC3E}">
        <p14:creationId xmlns:p14="http://schemas.microsoft.com/office/powerpoint/2010/main" val="407163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5766026" y="4185565"/>
            <a:ext cx="867575" cy="638360"/>
            <a:chOff x="3805981" y="3318294"/>
            <a:chExt cx="650851" cy="478895"/>
          </a:xfrm>
        </p:grpSpPr>
        <p:sp>
          <p:nvSpPr>
            <p:cNvPr id="3" name="Oval 2"/>
            <p:cNvSpPr/>
            <p:nvPr/>
          </p:nvSpPr>
          <p:spPr>
            <a:xfrm>
              <a:off x="3805981" y="3381956"/>
              <a:ext cx="650851" cy="415233"/>
            </a:xfrm>
            <a:prstGeom prst="ellipse">
              <a:avLst/>
            </a:prstGeom>
            <a:noFill/>
            <a:ln w="63500" cap="flat">
              <a:solidFill>
                <a:srgbClr val="FF0000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2505" tIns="42505" rIns="42505" bIns="42505" numCol="1" spcCol="23915" rtlCol="0" anchor="ctr">
              <a:spAutoFit/>
            </a:bodyPr>
            <a:lstStyle/>
            <a:p>
              <a:pPr algn="ctr" defTabSz="488814" hangingPunct="0"/>
              <a:endParaRPr lang="en-US" sz="20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cxnSp>
          <p:nvCxnSpPr>
            <p:cNvPr id="5" name="Straight Arrow Connector 4"/>
            <p:cNvCxnSpPr/>
            <p:nvPr/>
          </p:nvCxnSpPr>
          <p:spPr>
            <a:xfrm flipH="1" flipV="1">
              <a:off x="4188513" y="3318294"/>
              <a:ext cx="147826" cy="88465"/>
            </a:xfrm>
            <a:prstGeom prst="straightConnector1">
              <a:avLst/>
            </a:prstGeom>
            <a:noFill/>
            <a:ln w="60325" cap="flat">
              <a:solidFill>
                <a:srgbClr val="FF0000"/>
              </a:solidFill>
              <a:prstDash val="solid"/>
              <a:miter lim="400000"/>
              <a:tailEnd type="triangle" w="lg" len="lg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ea typeface="ＭＳ Ｐゴシック"/>
                <a:cs typeface="ＭＳ Ｐゴシック"/>
              </a:rPr>
              <a:t>Event Driven Architecture</a:t>
            </a:r>
            <a:endParaRPr lang="en-US"/>
          </a:p>
        </p:txBody>
      </p:sp>
      <p:sp>
        <p:nvSpPr>
          <p:cNvPr id="62472" name="Text Box 8"/>
          <p:cNvSpPr txBox="1">
            <a:spLocks noChangeArrowheads="1"/>
          </p:cNvSpPr>
          <p:nvPr/>
        </p:nvSpPr>
        <p:spPr bwMode="auto">
          <a:xfrm>
            <a:off x="4676614" y="869030"/>
            <a:ext cx="246173" cy="615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21864" tIns="60932" rIns="121864" bIns="60932">
            <a:spAutoFit/>
          </a:bodyPr>
          <a:lstStyle/>
          <a:p>
            <a:pPr>
              <a:defRPr/>
            </a:pPr>
            <a:endParaRPr lang="en-US" sz="3199"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2474" name="Text Box 10"/>
          <p:cNvSpPr txBox="1">
            <a:spLocks noChangeArrowheads="1"/>
          </p:cNvSpPr>
          <p:nvPr/>
        </p:nvSpPr>
        <p:spPr bwMode="auto">
          <a:xfrm>
            <a:off x="1762664" y="5331340"/>
            <a:ext cx="8720938" cy="861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121864" tIns="60932" rIns="121864" bIns="60932">
            <a:spAutoFit/>
          </a:bodyPr>
          <a:lstStyle/>
          <a:p>
            <a:pPr lvl="0" algn="ctr">
              <a:buClr>
                <a:schemeClr val="dk1"/>
              </a:buClr>
              <a:buSzPts val="1400"/>
            </a:pPr>
            <a:r>
              <a:rPr lang="en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In Process - Competing consumer pattern</a:t>
            </a:r>
            <a:r>
              <a:rPr lang="en-US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 with</a:t>
            </a:r>
            <a:r>
              <a:rPr lang="en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 asynchronous or synchronous</a:t>
            </a:r>
            <a:r>
              <a:rPr lang="en-US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 delivery</a:t>
            </a:r>
            <a:endParaRPr lang="en" sz="2399" b="1"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94" name="Google Shape;423;p54"/>
          <p:cNvSpPr txBox="1"/>
          <p:nvPr/>
        </p:nvSpPr>
        <p:spPr>
          <a:xfrm>
            <a:off x="7929897" y="1347159"/>
            <a:ext cx="4940294" cy="411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496" tIns="38238" rIns="76496" bIns="38238" anchor="t" anchorCtr="0">
            <a:noAutofit/>
          </a:bodyPr>
          <a:lstStyle/>
          <a:p>
            <a:pPr marL="382550" indent="-382550">
              <a:buClr>
                <a:schemeClr val="accent2">
                  <a:lumMod val="75000"/>
                </a:schemeClr>
              </a:buClr>
              <a:buSzPct val="134000"/>
              <a:buFont typeface="Arial"/>
              <a:buChar char="•"/>
            </a:pPr>
            <a:r>
              <a:rPr lang="en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Pub/Sub</a:t>
            </a:r>
            <a:r>
              <a:rPr lang="en-US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 </a:t>
            </a:r>
          </a:p>
          <a:p>
            <a:pPr marL="382550" indent="-382550">
              <a:buClr>
                <a:schemeClr val="accent2">
                  <a:lumMod val="75000"/>
                </a:schemeClr>
              </a:buClr>
              <a:buSzPct val="134000"/>
              <a:buFont typeface="Arial"/>
              <a:buChar char="•"/>
            </a:pPr>
            <a:r>
              <a:rPr lang="en" sz="2399" b="1">
                <a:latin typeface="Arial" panose="020B0604020202020204" pitchFamily="34" charset="0"/>
                <a:ea typeface="ＭＳ Ｐゴシック"/>
                <a:cs typeface="ＭＳ Ｐゴシック"/>
              </a:rPr>
              <a:t>Continuous Query</a:t>
            </a:r>
            <a:endParaRPr sz="2399" b="1"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grpSp>
        <p:nvGrpSpPr>
          <p:cNvPr id="22541" name="Group 14"/>
          <p:cNvGrpSpPr>
            <a:grpSpLocks/>
          </p:cNvGrpSpPr>
          <p:nvPr/>
        </p:nvGrpSpPr>
        <p:grpSpPr bwMode="auto">
          <a:xfrm>
            <a:off x="2600150" y="2693707"/>
            <a:ext cx="6988524" cy="1848348"/>
            <a:chOff x="1414" y="1727"/>
            <a:chExt cx="2670" cy="663"/>
          </a:xfrm>
        </p:grpSpPr>
        <p:grpSp>
          <p:nvGrpSpPr>
            <p:cNvPr id="22542" name="Group 15"/>
            <p:cNvGrpSpPr>
              <a:grpSpLocks/>
            </p:cNvGrpSpPr>
            <p:nvPr/>
          </p:nvGrpSpPr>
          <p:grpSpPr bwMode="auto">
            <a:xfrm>
              <a:off x="1632" y="1727"/>
              <a:ext cx="1156" cy="663"/>
              <a:chOff x="1632" y="1727"/>
              <a:chExt cx="1156" cy="663"/>
            </a:xfrm>
          </p:grpSpPr>
          <p:sp>
            <p:nvSpPr>
              <p:cNvPr id="62480" name="AutoShape 16"/>
              <p:cNvSpPr>
                <a:spLocks noChangeArrowheads="1"/>
              </p:cNvSpPr>
              <p:nvPr/>
            </p:nvSpPr>
            <p:spPr bwMode="auto">
              <a:xfrm>
                <a:off x="1632" y="2038"/>
                <a:ext cx="1156" cy="352"/>
              </a:xfrm>
              <a:custGeom>
                <a:avLst/>
                <a:gdLst>
                  <a:gd name="G0" fmla="+- 4543 0 0"/>
                  <a:gd name="G1" fmla="+- 11561637 0 0"/>
                  <a:gd name="G2" fmla="+- 0 0 11561637"/>
                  <a:gd name="T0" fmla="*/ 0 256 1"/>
                  <a:gd name="T1" fmla="*/ 180 256 1"/>
                  <a:gd name="G3" fmla="+- 11561637 T0 T1"/>
                  <a:gd name="T2" fmla="*/ 0 256 1"/>
                  <a:gd name="T3" fmla="*/ 90 256 1"/>
                  <a:gd name="G4" fmla="+- 11561637 T2 T3"/>
                  <a:gd name="G5" fmla="*/ G4 2 1"/>
                  <a:gd name="T4" fmla="*/ 90 256 1"/>
                  <a:gd name="T5" fmla="*/ 0 256 1"/>
                  <a:gd name="G6" fmla="+- 11561637 T4 T5"/>
                  <a:gd name="G7" fmla="*/ G6 2 1"/>
                  <a:gd name="G8" fmla="abs 11561637"/>
                  <a:gd name="T6" fmla="*/ 0 256 1"/>
                  <a:gd name="T7" fmla="*/ 90 256 1"/>
                  <a:gd name="G9" fmla="+- G8 T6 T7"/>
                  <a:gd name="G10" fmla="?: G9 G7 G5"/>
                  <a:gd name="T8" fmla="*/ 0 256 1"/>
                  <a:gd name="T9" fmla="*/ 360 256 1"/>
                  <a:gd name="G11" fmla="+- G10 T8 T9"/>
                  <a:gd name="G12" fmla="?: G10 G11 G10"/>
                  <a:gd name="T10" fmla="*/ 0 256 1"/>
                  <a:gd name="T11" fmla="*/ 360 256 1"/>
                  <a:gd name="G13" fmla="+- G12 T10 T11"/>
                  <a:gd name="G14" fmla="?: G12 G13 G12"/>
                  <a:gd name="G15" fmla="+- 0 0 G14"/>
                  <a:gd name="G16" fmla="+- 10800 0 0"/>
                  <a:gd name="G17" fmla="+- 10800 0 4543"/>
                  <a:gd name="G18" fmla="*/ 4543 1 2"/>
                  <a:gd name="G19" fmla="+- G18 5400 0"/>
                  <a:gd name="G20" fmla="cos G19 11561637"/>
                  <a:gd name="G21" fmla="sin G19 11561637"/>
                  <a:gd name="G22" fmla="+- G20 10800 0"/>
                  <a:gd name="G23" fmla="+- G21 10800 0"/>
                  <a:gd name="G24" fmla="+- 10800 0 G20"/>
                  <a:gd name="G25" fmla="+- 4543 10800 0"/>
                  <a:gd name="G26" fmla="?: G9 G17 G25"/>
                  <a:gd name="G27" fmla="?: G9 0 21600"/>
                  <a:gd name="G28" fmla="cos 10800 11561637"/>
                  <a:gd name="G29" fmla="sin 10800 11561637"/>
                  <a:gd name="G30" fmla="sin 4543 11561637"/>
                  <a:gd name="G31" fmla="+- G28 10800 0"/>
                  <a:gd name="G32" fmla="+- G29 10800 0"/>
                  <a:gd name="G33" fmla="+- G30 10800 0"/>
                  <a:gd name="G34" fmla="?: G4 0 G31"/>
                  <a:gd name="G35" fmla="?: 11561637 G34 0"/>
                  <a:gd name="G36" fmla="?: G6 G35 G31"/>
                  <a:gd name="G37" fmla="+- 21600 0 G36"/>
                  <a:gd name="G38" fmla="?: G4 0 G33"/>
                  <a:gd name="G39" fmla="?: 11561637 G38 G32"/>
                  <a:gd name="G40" fmla="?: G6 G39 0"/>
                  <a:gd name="G41" fmla="?: G4 G32 21600"/>
                  <a:gd name="G42" fmla="?: G6 G41 G33"/>
                  <a:gd name="T12" fmla="*/ 10800 w 21600"/>
                  <a:gd name="T13" fmla="*/ 0 h 21600"/>
                  <a:gd name="T14" fmla="*/ 3142 w 21600"/>
                  <a:gd name="T15" fmla="*/ 11279 h 21600"/>
                  <a:gd name="T16" fmla="*/ 10800 w 21600"/>
                  <a:gd name="T17" fmla="*/ 6257 h 21600"/>
                  <a:gd name="T18" fmla="*/ 18458 w 21600"/>
                  <a:gd name="T19" fmla="*/ 11279 h 21600"/>
                  <a:gd name="T20" fmla="*/ G36 w 21600"/>
                  <a:gd name="T21" fmla="*/ G40 h 21600"/>
                  <a:gd name="T22" fmla="*/ G37 w 21600"/>
                  <a:gd name="T23" fmla="*/ G42 h 21600"/>
                </a:gdLst>
                <a:ahLst/>
                <a:cxnLst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>
                    <a:moveTo>
                      <a:pt x="6265" y="11083"/>
                    </a:moveTo>
                    <a:cubicBezTo>
                      <a:pt x="6259" y="10989"/>
                      <a:pt x="6257" y="10894"/>
                      <a:pt x="6257" y="10800"/>
                    </a:cubicBezTo>
                    <a:cubicBezTo>
                      <a:pt x="6257" y="8290"/>
                      <a:pt x="8290" y="6257"/>
                      <a:pt x="10800" y="6257"/>
                    </a:cubicBezTo>
                    <a:cubicBezTo>
                      <a:pt x="13309" y="6257"/>
                      <a:pt x="15343" y="8290"/>
                      <a:pt x="15343" y="10800"/>
                    </a:cubicBezTo>
                    <a:cubicBezTo>
                      <a:pt x="15343" y="10894"/>
                      <a:pt x="15340" y="10989"/>
                      <a:pt x="15334" y="11083"/>
                    </a:cubicBezTo>
                    <a:lnTo>
                      <a:pt x="21578" y="11475"/>
                    </a:lnTo>
                    <a:cubicBezTo>
                      <a:pt x="21592" y="11250"/>
                      <a:pt x="21600" y="1102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1025"/>
                      <a:pt x="7" y="11250"/>
                      <a:pt x="21" y="114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algn="ctr">
                <a:solidFill>
                  <a:srgbClr val="0033CC"/>
                </a:solidFill>
                <a:miter lim="800000"/>
                <a:headEnd/>
                <a:tailEnd/>
              </a:ln>
              <a:effectLst>
                <a:outerShdw dist="56796" dir="1593903" algn="ctr" rotWithShape="0">
                  <a:srgbClr val="C0C0C0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2399"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595" name="AutoShape 17"/>
              <p:cNvSpPr>
                <a:spLocks noChangeArrowheads="1"/>
              </p:cNvSpPr>
              <p:nvPr/>
            </p:nvSpPr>
            <p:spPr bwMode="auto">
              <a:xfrm flipV="1">
                <a:off x="1632" y="1727"/>
                <a:ext cx="1156" cy="352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840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6265" y="11083"/>
                    </a:moveTo>
                    <a:cubicBezTo>
                      <a:pt x="6259" y="10989"/>
                      <a:pt x="6257" y="10894"/>
                      <a:pt x="6257" y="10800"/>
                    </a:cubicBezTo>
                    <a:cubicBezTo>
                      <a:pt x="6257" y="8290"/>
                      <a:pt x="8290" y="6257"/>
                      <a:pt x="10800" y="6257"/>
                    </a:cubicBezTo>
                    <a:cubicBezTo>
                      <a:pt x="13309" y="6257"/>
                      <a:pt x="15343" y="8290"/>
                      <a:pt x="15343" y="10800"/>
                    </a:cubicBezTo>
                    <a:cubicBezTo>
                      <a:pt x="15343" y="10894"/>
                      <a:pt x="15340" y="10989"/>
                      <a:pt x="15334" y="11083"/>
                    </a:cubicBezTo>
                    <a:lnTo>
                      <a:pt x="21578" y="11475"/>
                    </a:lnTo>
                    <a:cubicBezTo>
                      <a:pt x="21592" y="11250"/>
                      <a:pt x="21600" y="1102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1025"/>
                      <a:pt x="7" y="11250"/>
                      <a:pt x="21" y="114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algn="ctr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96" name="Rectangle 18"/>
              <p:cNvSpPr>
                <a:spLocks noChangeArrowheads="1"/>
              </p:cNvSpPr>
              <p:nvPr/>
            </p:nvSpPr>
            <p:spPr bwMode="auto">
              <a:xfrm rot="-5400000">
                <a:off x="2168" y="1777"/>
                <a:ext cx="103" cy="57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97" name="Line 19"/>
              <p:cNvSpPr>
                <a:spLocks noChangeShapeType="1"/>
              </p:cNvSpPr>
              <p:nvPr/>
            </p:nvSpPr>
            <p:spPr bwMode="auto">
              <a:xfrm>
                <a:off x="1967" y="2213"/>
                <a:ext cx="0" cy="28"/>
              </a:xfrm>
              <a:prstGeom prst="line">
                <a:avLst/>
              </a:prstGeom>
              <a:noFill/>
              <a:ln w="9525">
                <a:solidFill>
                  <a:srgbClr val="00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2543" name="Rectangle 20"/>
            <p:cNvSpPr>
              <a:spLocks noChangeArrowheads="1"/>
            </p:cNvSpPr>
            <p:nvPr/>
          </p:nvSpPr>
          <p:spPr bwMode="auto">
            <a:xfrm>
              <a:off x="1414" y="1874"/>
              <a:ext cx="550" cy="36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62485" name="AutoShape 21"/>
            <p:cNvSpPr>
              <a:spLocks noChangeArrowheads="1"/>
            </p:cNvSpPr>
            <p:nvPr/>
          </p:nvSpPr>
          <p:spPr bwMode="auto">
            <a:xfrm>
              <a:off x="1458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CC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86" name="AutoShape 22"/>
            <p:cNvSpPr>
              <a:spLocks noChangeArrowheads="1"/>
            </p:cNvSpPr>
            <p:nvPr/>
          </p:nvSpPr>
          <p:spPr bwMode="auto">
            <a:xfrm>
              <a:off x="1458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0066F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87" name="AutoShape 23"/>
            <p:cNvSpPr>
              <a:spLocks noChangeArrowheads="1"/>
            </p:cNvSpPr>
            <p:nvPr/>
          </p:nvSpPr>
          <p:spPr bwMode="auto">
            <a:xfrm>
              <a:off x="1458" y="1898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FF6600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88" name="AutoShape 24"/>
            <p:cNvSpPr>
              <a:spLocks noChangeArrowheads="1"/>
            </p:cNvSpPr>
            <p:nvPr/>
          </p:nvSpPr>
          <p:spPr bwMode="auto">
            <a:xfrm>
              <a:off x="1458" y="1963"/>
              <a:ext cx="455" cy="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00FF00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89" name="AutoShape 25"/>
            <p:cNvSpPr>
              <a:spLocks noChangeArrowheads="1"/>
            </p:cNvSpPr>
            <p:nvPr/>
          </p:nvSpPr>
          <p:spPr bwMode="auto">
            <a:xfrm>
              <a:off x="1458" y="2029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FF00FF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90" name="AutoShape 26"/>
            <p:cNvSpPr>
              <a:spLocks noChangeArrowheads="1"/>
            </p:cNvSpPr>
            <p:nvPr/>
          </p:nvSpPr>
          <p:spPr bwMode="auto">
            <a:xfrm>
              <a:off x="1700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491" name="AutoShape 27"/>
            <p:cNvSpPr>
              <a:spLocks noChangeArrowheads="1"/>
            </p:cNvSpPr>
            <p:nvPr/>
          </p:nvSpPr>
          <p:spPr bwMode="auto">
            <a:xfrm>
              <a:off x="1700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2551" name="Rectangle 28"/>
            <p:cNvSpPr>
              <a:spLocks noChangeArrowheads="1"/>
            </p:cNvSpPr>
            <p:nvPr/>
          </p:nvSpPr>
          <p:spPr bwMode="auto">
            <a:xfrm>
              <a:off x="1436" y="2234"/>
              <a:ext cx="562" cy="42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2" name="Line 29"/>
            <p:cNvSpPr>
              <a:spLocks noChangeShapeType="1"/>
            </p:cNvSpPr>
            <p:nvPr/>
          </p:nvSpPr>
          <p:spPr bwMode="auto">
            <a:xfrm>
              <a:off x="1418" y="2232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3" name="Line 30"/>
            <p:cNvSpPr>
              <a:spLocks noChangeShapeType="1"/>
            </p:cNvSpPr>
            <p:nvPr/>
          </p:nvSpPr>
          <p:spPr bwMode="auto">
            <a:xfrm>
              <a:off x="1418" y="1874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4" name="Line 31"/>
            <p:cNvSpPr>
              <a:spLocks noChangeShapeType="1"/>
            </p:cNvSpPr>
            <p:nvPr/>
          </p:nvSpPr>
          <p:spPr bwMode="auto">
            <a:xfrm>
              <a:off x="1416" y="1872"/>
              <a:ext cx="0" cy="36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5" name="Line 32"/>
            <p:cNvSpPr>
              <a:spLocks noChangeShapeType="1"/>
            </p:cNvSpPr>
            <p:nvPr/>
          </p:nvSpPr>
          <p:spPr bwMode="auto">
            <a:xfrm>
              <a:off x="1965" y="1872"/>
              <a:ext cx="0" cy="34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grpSp>
          <p:nvGrpSpPr>
            <p:cNvPr id="22556" name="Group 33"/>
            <p:cNvGrpSpPr>
              <a:grpSpLocks/>
            </p:cNvGrpSpPr>
            <p:nvPr/>
          </p:nvGrpSpPr>
          <p:grpSpPr bwMode="auto">
            <a:xfrm>
              <a:off x="2672" y="1727"/>
              <a:ext cx="1156" cy="663"/>
              <a:chOff x="1632" y="1727"/>
              <a:chExt cx="1156" cy="663"/>
            </a:xfrm>
          </p:grpSpPr>
          <p:sp>
            <p:nvSpPr>
              <p:cNvPr id="62498" name="AutoShape 34"/>
              <p:cNvSpPr>
                <a:spLocks noChangeArrowheads="1"/>
              </p:cNvSpPr>
              <p:nvPr/>
            </p:nvSpPr>
            <p:spPr bwMode="auto">
              <a:xfrm>
                <a:off x="1632" y="2038"/>
                <a:ext cx="1156" cy="352"/>
              </a:xfrm>
              <a:custGeom>
                <a:avLst/>
                <a:gdLst>
                  <a:gd name="G0" fmla="+- 4543 0 0"/>
                  <a:gd name="G1" fmla="+- 11561637 0 0"/>
                  <a:gd name="G2" fmla="+- 0 0 11561637"/>
                  <a:gd name="T0" fmla="*/ 0 256 1"/>
                  <a:gd name="T1" fmla="*/ 180 256 1"/>
                  <a:gd name="G3" fmla="+- 11561637 T0 T1"/>
                  <a:gd name="T2" fmla="*/ 0 256 1"/>
                  <a:gd name="T3" fmla="*/ 90 256 1"/>
                  <a:gd name="G4" fmla="+- 11561637 T2 T3"/>
                  <a:gd name="G5" fmla="*/ G4 2 1"/>
                  <a:gd name="T4" fmla="*/ 90 256 1"/>
                  <a:gd name="T5" fmla="*/ 0 256 1"/>
                  <a:gd name="G6" fmla="+- 11561637 T4 T5"/>
                  <a:gd name="G7" fmla="*/ G6 2 1"/>
                  <a:gd name="G8" fmla="abs 11561637"/>
                  <a:gd name="T6" fmla="*/ 0 256 1"/>
                  <a:gd name="T7" fmla="*/ 90 256 1"/>
                  <a:gd name="G9" fmla="+- G8 T6 T7"/>
                  <a:gd name="G10" fmla="?: G9 G7 G5"/>
                  <a:gd name="T8" fmla="*/ 0 256 1"/>
                  <a:gd name="T9" fmla="*/ 360 256 1"/>
                  <a:gd name="G11" fmla="+- G10 T8 T9"/>
                  <a:gd name="G12" fmla="?: G10 G11 G10"/>
                  <a:gd name="T10" fmla="*/ 0 256 1"/>
                  <a:gd name="T11" fmla="*/ 360 256 1"/>
                  <a:gd name="G13" fmla="+- G12 T10 T11"/>
                  <a:gd name="G14" fmla="?: G12 G13 G12"/>
                  <a:gd name="G15" fmla="+- 0 0 G14"/>
                  <a:gd name="G16" fmla="+- 10800 0 0"/>
                  <a:gd name="G17" fmla="+- 10800 0 4543"/>
                  <a:gd name="G18" fmla="*/ 4543 1 2"/>
                  <a:gd name="G19" fmla="+- G18 5400 0"/>
                  <a:gd name="G20" fmla="cos G19 11561637"/>
                  <a:gd name="G21" fmla="sin G19 11561637"/>
                  <a:gd name="G22" fmla="+- G20 10800 0"/>
                  <a:gd name="G23" fmla="+- G21 10800 0"/>
                  <a:gd name="G24" fmla="+- 10800 0 G20"/>
                  <a:gd name="G25" fmla="+- 4543 10800 0"/>
                  <a:gd name="G26" fmla="?: G9 G17 G25"/>
                  <a:gd name="G27" fmla="?: G9 0 21600"/>
                  <a:gd name="G28" fmla="cos 10800 11561637"/>
                  <a:gd name="G29" fmla="sin 10800 11561637"/>
                  <a:gd name="G30" fmla="sin 4543 11561637"/>
                  <a:gd name="G31" fmla="+- G28 10800 0"/>
                  <a:gd name="G32" fmla="+- G29 10800 0"/>
                  <a:gd name="G33" fmla="+- G30 10800 0"/>
                  <a:gd name="G34" fmla="?: G4 0 G31"/>
                  <a:gd name="G35" fmla="?: 11561637 G34 0"/>
                  <a:gd name="G36" fmla="?: G6 G35 G31"/>
                  <a:gd name="G37" fmla="+- 21600 0 G36"/>
                  <a:gd name="G38" fmla="?: G4 0 G33"/>
                  <a:gd name="G39" fmla="?: 11561637 G38 G32"/>
                  <a:gd name="G40" fmla="?: G6 G39 0"/>
                  <a:gd name="G41" fmla="?: G4 G32 21600"/>
                  <a:gd name="G42" fmla="?: G6 G41 G33"/>
                  <a:gd name="T12" fmla="*/ 10800 w 21600"/>
                  <a:gd name="T13" fmla="*/ 0 h 21600"/>
                  <a:gd name="T14" fmla="*/ 3142 w 21600"/>
                  <a:gd name="T15" fmla="*/ 11279 h 21600"/>
                  <a:gd name="T16" fmla="*/ 10800 w 21600"/>
                  <a:gd name="T17" fmla="*/ 6257 h 21600"/>
                  <a:gd name="T18" fmla="*/ 18458 w 21600"/>
                  <a:gd name="T19" fmla="*/ 11279 h 21600"/>
                  <a:gd name="T20" fmla="*/ G36 w 21600"/>
                  <a:gd name="T21" fmla="*/ G40 h 21600"/>
                  <a:gd name="T22" fmla="*/ G37 w 21600"/>
                  <a:gd name="T23" fmla="*/ G42 h 21600"/>
                </a:gdLst>
                <a:ahLst/>
                <a:cxnLst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>
                    <a:moveTo>
                      <a:pt x="6265" y="11083"/>
                    </a:moveTo>
                    <a:cubicBezTo>
                      <a:pt x="6259" y="10989"/>
                      <a:pt x="6257" y="10894"/>
                      <a:pt x="6257" y="10800"/>
                    </a:cubicBezTo>
                    <a:cubicBezTo>
                      <a:pt x="6257" y="8290"/>
                      <a:pt x="8290" y="6257"/>
                      <a:pt x="10800" y="6257"/>
                    </a:cubicBezTo>
                    <a:cubicBezTo>
                      <a:pt x="13309" y="6257"/>
                      <a:pt x="15343" y="8290"/>
                      <a:pt x="15343" y="10800"/>
                    </a:cubicBezTo>
                    <a:cubicBezTo>
                      <a:pt x="15343" y="10894"/>
                      <a:pt x="15340" y="10989"/>
                      <a:pt x="15334" y="11083"/>
                    </a:cubicBezTo>
                    <a:lnTo>
                      <a:pt x="21578" y="11475"/>
                    </a:lnTo>
                    <a:cubicBezTo>
                      <a:pt x="21592" y="11250"/>
                      <a:pt x="21600" y="1102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1025"/>
                      <a:pt x="7" y="11250"/>
                      <a:pt x="21" y="114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algn="ctr">
                <a:solidFill>
                  <a:srgbClr val="0033CC"/>
                </a:solidFill>
                <a:miter lim="800000"/>
                <a:headEnd/>
                <a:tailEnd/>
              </a:ln>
              <a:effectLst>
                <a:outerShdw dist="56796" dir="1593903" algn="ctr" rotWithShape="0">
                  <a:srgbClr val="C0C0C0"/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2399"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591" name="AutoShape 35"/>
              <p:cNvSpPr>
                <a:spLocks noChangeArrowheads="1"/>
              </p:cNvSpPr>
              <p:nvPr/>
            </p:nvSpPr>
            <p:spPr bwMode="auto">
              <a:xfrm flipV="1">
                <a:off x="1632" y="1727"/>
                <a:ext cx="1156" cy="352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840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6265" y="11083"/>
                    </a:moveTo>
                    <a:cubicBezTo>
                      <a:pt x="6259" y="10989"/>
                      <a:pt x="6257" y="10894"/>
                      <a:pt x="6257" y="10800"/>
                    </a:cubicBezTo>
                    <a:cubicBezTo>
                      <a:pt x="6257" y="8290"/>
                      <a:pt x="8290" y="6257"/>
                      <a:pt x="10800" y="6257"/>
                    </a:cubicBezTo>
                    <a:cubicBezTo>
                      <a:pt x="13309" y="6257"/>
                      <a:pt x="15343" y="8290"/>
                      <a:pt x="15343" y="10800"/>
                    </a:cubicBezTo>
                    <a:cubicBezTo>
                      <a:pt x="15343" y="10894"/>
                      <a:pt x="15340" y="10989"/>
                      <a:pt x="15334" y="11083"/>
                    </a:cubicBezTo>
                    <a:lnTo>
                      <a:pt x="21578" y="11475"/>
                    </a:lnTo>
                    <a:cubicBezTo>
                      <a:pt x="21592" y="11250"/>
                      <a:pt x="21600" y="1102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1025"/>
                      <a:pt x="7" y="11250"/>
                      <a:pt x="21" y="114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algn="ctr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92" name="Rectangle 36"/>
              <p:cNvSpPr>
                <a:spLocks noChangeArrowheads="1"/>
              </p:cNvSpPr>
              <p:nvPr/>
            </p:nvSpPr>
            <p:spPr bwMode="auto">
              <a:xfrm rot="-5400000">
                <a:off x="2168" y="1777"/>
                <a:ext cx="103" cy="57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93" name="Line 37"/>
              <p:cNvSpPr>
                <a:spLocks noChangeShapeType="1"/>
              </p:cNvSpPr>
              <p:nvPr/>
            </p:nvSpPr>
            <p:spPr bwMode="auto">
              <a:xfrm>
                <a:off x="1967" y="2213"/>
                <a:ext cx="0" cy="28"/>
              </a:xfrm>
              <a:prstGeom prst="line">
                <a:avLst/>
              </a:prstGeom>
              <a:noFill/>
              <a:ln w="9525">
                <a:solidFill>
                  <a:srgbClr val="00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2557" name="Rectangle 38"/>
            <p:cNvSpPr>
              <a:spLocks noChangeArrowheads="1"/>
            </p:cNvSpPr>
            <p:nvPr/>
          </p:nvSpPr>
          <p:spPr bwMode="auto">
            <a:xfrm>
              <a:off x="2453" y="1914"/>
              <a:ext cx="31" cy="27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8" name="Rectangle 39"/>
            <p:cNvSpPr>
              <a:spLocks noChangeArrowheads="1"/>
            </p:cNvSpPr>
            <p:nvPr/>
          </p:nvSpPr>
          <p:spPr bwMode="auto">
            <a:xfrm>
              <a:off x="2480" y="2234"/>
              <a:ext cx="562" cy="42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59" name="Rectangle 40"/>
            <p:cNvSpPr>
              <a:spLocks noChangeArrowheads="1"/>
            </p:cNvSpPr>
            <p:nvPr/>
          </p:nvSpPr>
          <p:spPr bwMode="auto">
            <a:xfrm>
              <a:off x="2453" y="1874"/>
              <a:ext cx="550" cy="36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62505" name="AutoShape 41"/>
            <p:cNvSpPr>
              <a:spLocks noChangeArrowheads="1"/>
            </p:cNvSpPr>
            <p:nvPr/>
          </p:nvSpPr>
          <p:spPr bwMode="auto">
            <a:xfrm>
              <a:off x="2497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CC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06" name="AutoShape 42"/>
            <p:cNvSpPr>
              <a:spLocks noChangeArrowheads="1"/>
            </p:cNvSpPr>
            <p:nvPr/>
          </p:nvSpPr>
          <p:spPr bwMode="auto">
            <a:xfrm>
              <a:off x="2497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0066F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07" name="AutoShape 43"/>
            <p:cNvSpPr>
              <a:spLocks noChangeArrowheads="1"/>
            </p:cNvSpPr>
            <p:nvPr/>
          </p:nvSpPr>
          <p:spPr bwMode="auto">
            <a:xfrm>
              <a:off x="2497" y="1898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50000">
                  <a:srgbClr val="FF6600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08" name="AutoShape 44"/>
            <p:cNvSpPr>
              <a:spLocks noChangeArrowheads="1"/>
            </p:cNvSpPr>
            <p:nvPr/>
          </p:nvSpPr>
          <p:spPr bwMode="auto">
            <a:xfrm>
              <a:off x="2497" y="1963"/>
              <a:ext cx="455" cy="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50000">
                  <a:srgbClr val="00FF00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09" name="AutoShape 45"/>
            <p:cNvSpPr>
              <a:spLocks noChangeArrowheads="1"/>
            </p:cNvSpPr>
            <p:nvPr/>
          </p:nvSpPr>
          <p:spPr bwMode="auto">
            <a:xfrm>
              <a:off x="2497" y="2029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FF00FF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10" name="AutoShape 46"/>
            <p:cNvSpPr>
              <a:spLocks noChangeArrowheads="1"/>
            </p:cNvSpPr>
            <p:nvPr/>
          </p:nvSpPr>
          <p:spPr bwMode="auto">
            <a:xfrm>
              <a:off x="2739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11" name="AutoShape 47"/>
            <p:cNvSpPr>
              <a:spLocks noChangeArrowheads="1"/>
            </p:cNvSpPr>
            <p:nvPr/>
          </p:nvSpPr>
          <p:spPr bwMode="auto">
            <a:xfrm>
              <a:off x="2739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2567" name="Rectangle 48"/>
            <p:cNvSpPr>
              <a:spLocks noChangeArrowheads="1"/>
            </p:cNvSpPr>
            <p:nvPr/>
          </p:nvSpPr>
          <p:spPr bwMode="auto">
            <a:xfrm>
              <a:off x="2475" y="2234"/>
              <a:ext cx="562" cy="42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68" name="Line 49"/>
            <p:cNvSpPr>
              <a:spLocks noChangeShapeType="1"/>
            </p:cNvSpPr>
            <p:nvPr/>
          </p:nvSpPr>
          <p:spPr bwMode="auto">
            <a:xfrm>
              <a:off x="2457" y="2232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69" name="Line 50"/>
            <p:cNvSpPr>
              <a:spLocks noChangeShapeType="1"/>
            </p:cNvSpPr>
            <p:nvPr/>
          </p:nvSpPr>
          <p:spPr bwMode="auto">
            <a:xfrm>
              <a:off x="2457" y="1874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0" name="Line 51"/>
            <p:cNvSpPr>
              <a:spLocks noChangeShapeType="1"/>
            </p:cNvSpPr>
            <p:nvPr/>
          </p:nvSpPr>
          <p:spPr bwMode="auto">
            <a:xfrm>
              <a:off x="2453" y="1872"/>
              <a:ext cx="0" cy="38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1" name="Line 52"/>
            <p:cNvSpPr>
              <a:spLocks noChangeShapeType="1"/>
            </p:cNvSpPr>
            <p:nvPr/>
          </p:nvSpPr>
          <p:spPr bwMode="auto">
            <a:xfrm>
              <a:off x="2453" y="2206"/>
              <a:ext cx="0" cy="25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2" name="Line 53"/>
            <p:cNvSpPr>
              <a:spLocks noChangeShapeType="1"/>
            </p:cNvSpPr>
            <p:nvPr/>
          </p:nvSpPr>
          <p:spPr bwMode="auto">
            <a:xfrm>
              <a:off x="3005" y="1872"/>
              <a:ext cx="0" cy="34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3" name="Rectangle 54"/>
            <p:cNvSpPr>
              <a:spLocks noChangeArrowheads="1"/>
            </p:cNvSpPr>
            <p:nvPr/>
          </p:nvSpPr>
          <p:spPr bwMode="auto">
            <a:xfrm>
              <a:off x="3493" y="1914"/>
              <a:ext cx="31" cy="27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4" name="Rectangle 55"/>
            <p:cNvSpPr>
              <a:spLocks noChangeArrowheads="1"/>
            </p:cNvSpPr>
            <p:nvPr/>
          </p:nvSpPr>
          <p:spPr bwMode="auto">
            <a:xfrm>
              <a:off x="3520" y="2234"/>
              <a:ext cx="562" cy="42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75" name="Rectangle 56"/>
            <p:cNvSpPr>
              <a:spLocks noChangeArrowheads="1"/>
            </p:cNvSpPr>
            <p:nvPr/>
          </p:nvSpPr>
          <p:spPr bwMode="auto">
            <a:xfrm>
              <a:off x="3493" y="1874"/>
              <a:ext cx="550" cy="36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62521" name="AutoShape 57"/>
            <p:cNvSpPr>
              <a:spLocks noChangeArrowheads="1"/>
            </p:cNvSpPr>
            <p:nvPr/>
          </p:nvSpPr>
          <p:spPr bwMode="auto">
            <a:xfrm>
              <a:off x="3537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CC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2" name="AutoShape 58"/>
            <p:cNvSpPr>
              <a:spLocks noChangeArrowheads="1"/>
            </p:cNvSpPr>
            <p:nvPr/>
          </p:nvSpPr>
          <p:spPr bwMode="auto">
            <a:xfrm>
              <a:off x="3537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0066F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3" name="AutoShape 59"/>
            <p:cNvSpPr>
              <a:spLocks noChangeArrowheads="1"/>
            </p:cNvSpPr>
            <p:nvPr/>
          </p:nvSpPr>
          <p:spPr bwMode="auto">
            <a:xfrm>
              <a:off x="3537" y="1898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FF6600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4" name="AutoShape 60"/>
            <p:cNvSpPr>
              <a:spLocks noChangeArrowheads="1"/>
            </p:cNvSpPr>
            <p:nvPr/>
          </p:nvSpPr>
          <p:spPr bwMode="auto">
            <a:xfrm>
              <a:off x="3537" y="1963"/>
              <a:ext cx="455" cy="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00FF00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5" name="AutoShape 61"/>
            <p:cNvSpPr>
              <a:spLocks noChangeArrowheads="1"/>
            </p:cNvSpPr>
            <p:nvPr/>
          </p:nvSpPr>
          <p:spPr bwMode="auto">
            <a:xfrm>
              <a:off x="3537" y="2029"/>
              <a:ext cx="455" cy="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50000">
                  <a:srgbClr val="FF00FF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6" name="AutoShape 62"/>
            <p:cNvSpPr>
              <a:spLocks noChangeArrowheads="1"/>
            </p:cNvSpPr>
            <p:nvPr/>
          </p:nvSpPr>
          <p:spPr bwMode="auto">
            <a:xfrm>
              <a:off x="3779" y="2105"/>
              <a:ext cx="216" cy="4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27" name="AutoShape 63"/>
            <p:cNvSpPr>
              <a:spLocks noChangeArrowheads="1"/>
            </p:cNvSpPr>
            <p:nvPr/>
          </p:nvSpPr>
          <p:spPr bwMode="auto">
            <a:xfrm>
              <a:off x="3779" y="2169"/>
              <a:ext cx="214" cy="46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498" indent="-228498" algn="ctr" eaLnBrk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5956" algn="l"/>
                  <a:tab pos="4265283" algn="l"/>
                  <a:tab pos="4874608" algn="l"/>
                  <a:tab pos="5483934" algn="l"/>
                  <a:tab pos="6093260" algn="l"/>
                  <a:tab pos="6702587" algn="l"/>
                  <a:tab pos="7311913" algn="l"/>
                  <a:tab pos="7921239" algn="l"/>
                  <a:tab pos="8530564" algn="l"/>
                  <a:tab pos="9139890" algn="l"/>
                  <a:tab pos="9749217" algn="l"/>
                  <a:tab pos="10358543" algn="l"/>
                  <a:tab pos="10967869" algn="l"/>
                  <a:tab pos="11577194" algn="l"/>
                  <a:tab pos="12186521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2583" name="Rectangle 64"/>
            <p:cNvSpPr>
              <a:spLocks noChangeArrowheads="1"/>
            </p:cNvSpPr>
            <p:nvPr/>
          </p:nvSpPr>
          <p:spPr bwMode="auto">
            <a:xfrm>
              <a:off x="3515" y="2234"/>
              <a:ext cx="562" cy="42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4" name="Line 65"/>
            <p:cNvSpPr>
              <a:spLocks noChangeShapeType="1"/>
            </p:cNvSpPr>
            <p:nvPr/>
          </p:nvSpPr>
          <p:spPr bwMode="auto">
            <a:xfrm>
              <a:off x="3497" y="2232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5" name="Line 66"/>
            <p:cNvSpPr>
              <a:spLocks noChangeShapeType="1"/>
            </p:cNvSpPr>
            <p:nvPr/>
          </p:nvSpPr>
          <p:spPr bwMode="auto">
            <a:xfrm>
              <a:off x="3497" y="1874"/>
              <a:ext cx="548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6" name="Line 67"/>
            <p:cNvSpPr>
              <a:spLocks noChangeShapeType="1"/>
            </p:cNvSpPr>
            <p:nvPr/>
          </p:nvSpPr>
          <p:spPr bwMode="auto">
            <a:xfrm>
              <a:off x="3493" y="1872"/>
              <a:ext cx="0" cy="38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7" name="Line 68"/>
            <p:cNvSpPr>
              <a:spLocks noChangeShapeType="1"/>
            </p:cNvSpPr>
            <p:nvPr/>
          </p:nvSpPr>
          <p:spPr bwMode="auto">
            <a:xfrm>
              <a:off x="3493" y="2206"/>
              <a:ext cx="0" cy="25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8" name="Line 69"/>
            <p:cNvSpPr>
              <a:spLocks noChangeShapeType="1"/>
            </p:cNvSpPr>
            <p:nvPr/>
          </p:nvSpPr>
          <p:spPr bwMode="auto">
            <a:xfrm>
              <a:off x="4044" y="1872"/>
              <a:ext cx="0" cy="36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22589" name="Rectangle 70"/>
            <p:cNvSpPr>
              <a:spLocks noChangeArrowheads="1"/>
            </p:cNvSpPr>
            <p:nvPr/>
          </p:nvSpPr>
          <p:spPr bwMode="auto">
            <a:xfrm rot="-5400000">
              <a:off x="3890" y="2078"/>
              <a:ext cx="352" cy="36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</p:grpSp>
      <p:pic>
        <p:nvPicPr>
          <p:cNvPr id="115" name="Google Shape;42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51039" y="1095153"/>
            <a:ext cx="749190" cy="6291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9" name="Straight Arrow Connector 128"/>
          <p:cNvCxnSpPr/>
          <p:nvPr/>
        </p:nvCxnSpPr>
        <p:spPr>
          <a:xfrm flipV="1">
            <a:off x="6002856" y="1724313"/>
            <a:ext cx="0" cy="1284211"/>
          </a:xfrm>
          <a:prstGeom prst="straightConnector1">
            <a:avLst/>
          </a:prstGeom>
          <a:noFill/>
          <a:ln w="63500" cap="flat">
            <a:solidFill>
              <a:srgbClr val="FF0000"/>
            </a:solidFill>
            <a:miter lim="400000"/>
            <a:tailEnd type="triangle" w="lg" len="lg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0" name="Straight Arrow Connector 129"/>
          <p:cNvCxnSpPr/>
          <p:nvPr/>
        </p:nvCxnSpPr>
        <p:spPr>
          <a:xfrm flipV="1">
            <a:off x="6002856" y="1724313"/>
            <a:ext cx="1207775" cy="1284211"/>
          </a:xfrm>
          <a:prstGeom prst="straightConnector1">
            <a:avLst/>
          </a:prstGeom>
          <a:noFill/>
          <a:ln w="63500" cap="flat">
            <a:solidFill>
              <a:srgbClr val="FF0000"/>
            </a:solidFill>
            <a:miter lim="400000"/>
            <a:tailEnd type="triangle" w="lg" len="lg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Straight Arrow Connector 14"/>
          <p:cNvCxnSpPr>
            <a:stCxn id="115" idx="2"/>
          </p:cNvCxnSpPr>
          <p:nvPr/>
        </p:nvCxnSpPr>
        <p:spPr>
          <a:xfrm>
            <a:off x="4725635" y="1724313"/>
            <a:ext cx="1361052" cy="1318407"/>
          </a:xfrm>
          <a:prstGeom prst="straightConnector1">
            <a:avLst/>
          </a:prstGeom>
          <a:noFill/>
          <a:ln w="63500" cap="flat">
            <a:solidFill>
              <a:srgbClr val="FF0000"/>
            </a:solidFill>
            <a:miter lim="400000"/>
            <a:tailEnd type="triangle" w="lg" len="lg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31" name="Group 130"/>
          <p:cNvGrpSpPr/>
          <p:nvPr/>
        </p:nvGrpSpPr>
        <p:grpSpPr>
          <a:xfrm>
            <a:off x="3377682" y="1959685"/>
            <a:ext cx="1727056" cy="616227"/>
            <a:chOff x="921855" y="2831106"/>
            <a:chExt cx="1842672" cy="876639"/>
          </a:xfrm>
        </p:grpSpPr>
        <p:grpSp>
          <p:nvGrpSpPr>
            <p:cNvPr id="132" name="Group 26"/>
            <p:cNvGrpSpPr>
              <a:grpSpLocks/>
            </p:cNvGrpSpPr>
            <p:nvPr/>
          </p:nvGrpSpPr>
          <p:grpSpPr bwMode="auto">
            <a:xfrm>
              <a:off x="2111254" y="3028426"/>
              <a:ext cx="411268" cy="492918"/>
              <a:chOff x="2980" y="2203"/>
              <a:chExt cx="349" cy="414"/>
            </a:xfrm>
          </p:grpSpPr>
          <p:pic>
            <p:nvPicPr>
              <p:cNvPr id="137" name="Picture 27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38" name="Picture 28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46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39" name="Picture 29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368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0" name="Picture 30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03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1" name="Picture 31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2" name="Picture 32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335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3" name="Picture 33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13" y="2434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4" name="Picture 34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79" y="2500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45" name="Picture 35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2980" y="2218"/>
                <a:ext cx="118" cy="117"/>
              </a:xfrm>
              <a:prstGeom prst="rect">
                <a:avLst/>
              </a:prstGeom>
              <a:noFill/>
            </p:spPr>
          </p:pic>
        </p:grpSp>
        <p:pic>
          <p:nvPicPr>
            <p:cNvPr id="133" name="Picture 20" descr="MCDD01775_0000[1]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1826510" y="3205287"/>
              <a:ext cx="150423" cy="139196"/>
            </a:xfrm>
            <a:prstGeom prst="rect">
              <a:avLst/>
            </a:prstGeom>
            <a:noFill/>
          </p:spPr>
        </p:pic>
        <p:sp>
          <p:nvSpPr>
            <p:cNvPr id="134" name="TextBox 133"/>
            <p:cNvSpPr txBox="1"/>
            <p:nvPr/>
          </p:nvSpPr>
          <p:spPr>
            <a:xfrm>
              <a:off x="921855" y="2831106"/>
              <a:ext cx="867662" cy="8657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67716" tIns="67716" rIns="67716" bIns="67716" numCol="1" spcCol="38100" rtlCol="0" anchor="ctr">
              <a:spAutoFit/>
            </a:bodyPr>
            <a:lstStyle/>
            <a:p>
              <a:pPr defTabSz="488814" hangingPunct="0"/>
              <a:r>
                <a:rPr lang="en-US" sz="3066">
                  <a:latin typeface="Arial" panose="020B0604020202020204" pitchFamily="34" charset="0"/>
                  <a:sym typeface="Avenir Next"/>
                </a:rPr>
                <a:t>put(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2478372" y="2842027"/>
              <a:ext cx="286155" cy="8657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67716" tIns="67716" rIns="67716" bIns="67716" numCol="1" spcCol="38100" rtlCol="0" anchor="ctr">
              <a:spAutoFit/>
            </a:bodyPr>
            <a:lstStyle/>
            <a:p>
              <a:pPr defTabSz="488814" hangingPunct="0"/>
              <a:r>
                <a:rPr lang="en-US" sz="3066">
                  <a:latin typeface="Arial" panose="020B0604020202020204" pitchFamily="34" charset="0"/>
                  <a:sym typeface="Avenir Next"/>
                </a:rPr>
                <a:t>)</a:t>
              </a: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1932782" y="2842027"/>
              <a:ext cx="262211" cy="8657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67716" tIns="67716" rIns="67716" bIns="67716" numCol="1" spcCol="38100" rtlCol="0" anchor="ctr">
              <a:spAutoFit/>
            </a:bodyPr>
            <a:lstStyle/>
            <a:p>
              <a:pPr defTabSz="488814" hangingPunct="0"/>
              <a:r>
                <a:rPr lang="en-US" sz="3066">
                  <a:latin typeface="Arial" panose="020B0604020202020204" pitchFamily="34" charset="0"/>
                  <a:sym typeface="Avenir Next"/>
                </a:rPr>
                <a:t>,</a:t>
              </a:r>
            </a:p>
          </p:txBody>
        </p:sp>
      </p:grpSp>
      <p:grpSp>
        <p:nvGrpSpPr>
          <p:cNvPr id="146" name="Group 69"/>
          <p:cNvGrpSpPr/>
          <p:nvPr/>
        </p:nvGrpSpPr>
        <p:grpSpPr>
          <a:xfrm>
            <a:off x="6353269" y="2189100"/>
            <a:ext cx="575109" cy="346492"/>
            <a:chOff x="3625850" y="2015724"/>
            <a:chExt cx="613609" cy="492918"/>
          </a:xfrm>
        </p:grpSpPr>
        <p:sp>
          <p:nvSpPr>
            <p:cNvPr id="147" name="Line 10"/>
            <p:cNvSpPr>
              <a:spLocks noChangeShapeType="1"/>
            </p:cNvSpPr>
            <p:nvPr/>
          </p:nvSpPr>
          <p:spPr bwMode="auto">
            <a:xfrm>
              <a:off x="3761230" y="2095972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148" name="Picture 20" descr="MCDD01775_0000[1]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3625850" y="2026373"/>
              <a:ext cx="150423" cy="139196"/>
            </a:xfrm>
            <a:prstGeom prst="rect">
              <a:avLst/>
            </a:prstGeom>
            <a:noFill/>
          </p:spPr>
        </p:pic>
        <p:grpSp>
          <p:nvGrpSpPr>
            <p:cNvPr id="149" name="Group 26"/>
            <p:cNvGrpSpPr>
              <a:grpSpLocks/>
            </p:cNvGrpSpPr>
            <p:nvPr/>
          </p:nvGrpSpPr>
          <p:grpSpPr bwMode="auto">
            <a:xfrm>
              <a:off x="3828199" y="2015724"/>
              <a:ext cx="411268" cy="492918"/>
              <a:chOff x="2980" y="2203"/>
              <a:chExt cx="349" cy="414"/>
            </a:xfrm>
          </p:grpSpPr>
          <p:pic>
            <p:nvPicPr>
              <p:cNvPr id="150" name="Picture 27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1" name="Picture 28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46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2" name="Picture 29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368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3" name="Picture 30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03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4" name="Picture 31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5" name="Picture 32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335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6" name="Picture 33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13" y="2434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7" name="Picture 34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79" y="2500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58" name="Picture 35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2980" y="2218"/>
                <a:ext cx="118" cy="117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59" name="Group 69"/>
          <p:cNvGrpSpPr/>
          <p:nvPr/>
        </p:nvGrpSpPr>
        <p:grpSpPr>
          <a:xfrm>
            <a:off x="5843719" y="4736831"/>
            <a:ext cx="575109" cy="346492"/>
            <a:chOff x="3625850" y="2015724"/>
            <a:chExt cx="613609" cy="492918"/>
          </a:xfrm>
        </p:grpSpPr>
        <p:sp>
          <p:nvSpPr>
            <p:cNvPr id="160" name="Line 10"/>
            <p:cNvSpPr>
              <a:spLocks noChangeShapeType="1"/>
            </p:cNvSpPr>
            <p:nvPr/>
          </p:nvSpPr>
          <p:spPr bwMode="auto">
            <a:xfrm>
              <a:off x="3761230" y="2095972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161" name="Picture 20" descr="MCDD01775_0000[1]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3625850" y="2026373"/>
              <a:ext cx="150423" cy="139196"/>
            </a:xfrm>
            <a:prstGeom prst="rect">
              <a:avLst/>
            </a:prstGeom>
            <a:noFill/>
          </p:spPr>
        </p:pic>
        <p:grpSp>
          <p:nvGrpSpPr>
            <p:cNvPr id="162" name="Group 26"/>
            <p:cNvGrpSpPr>
              <a:grpSpLocks/>
            </p:cNvGrpSpPr>
            <p:nvPr/>
          </p:nvGrpSpPr>
          <p:grpSpPr bwMode="auto">
            <a:xfrm>
              <a:off x="3828199" y="2015724"/>
              <a:ext cx="411268" cy="492918"/>
              <a:chOff x="2980" y="2203"/>
              <a:chExt cx="349" cy="414"/>
            </a:xfrm>
          </p:grpSpPr>
          <p:pic>
            <p:nvPicPr>
              <p:cNvPr id="163" name="Picture 27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4" name="Picture 28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46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5" name="Picture 29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368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6" name="Picture 30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03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7" name="Picture 31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8" name="Picture 32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335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69" name="Picture 33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13" y="2434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70" name="Picture 34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79" y="2500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71" name="Picture 35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2980" y="2218"/>
                <a:ext cx="118" cy="117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Rectangle 22"/>
          <p:cNvSpPr/>
          <p:nvPr/>
        </p:nvSpPr>
        <p:spPr>
          <a:xfrm>
            <a:off x="7302908" y="2230858"/>
            <a:ext cx="7956983" cy="528404"/>
          </a:xfrm>
          <a:prstGeom prst="rect">
            <a:avLst/>
          </a:prstGeom>
        </p:spPr>
        <p:txBody>
          <a:bodyPr wrap="square" lIns="76509" tIns="38254" rIns="76509" bIns="38254">
            <a:spAutoFit/>
          </a:bodyPr>
          <a:lstStyle/>
          <a:p>
            <a:r>
              <a:rPr lang="en-US" sz="1466">
                <a:latin typeface="American Typewriter"/>
                <a:cs typeface="American Typewriter"/>
              </a:rPr>
              <a:t>SELECT * FROM /</a:t>
            </a:r>
            <a:r>
              <a:rPr lang="en-US" sz="1466" err="1">
                <a:latin typeface="American Typewriter"/>
                <a:cs typeface="American Typewriter"/>
              </a:rPr>
              <a:t>tradeOrder</a:t>
            </a:r>
            <a:r>
              <a:rPr lang="en-US" sz="1466">
                <a:latin typeface="American Typewriter"/>
                <a:cs typeface="American Typewriter"/>
              </a:rPr>
              <a:t> t </a:t>
            </a:r>
          </a:p>
          <a:p>
            <a:r>
              <a:rPr lang="en-US" sz="1466">
                <a:latin typeface="American Typewriter"/>
                <a:cs typeface="American Typewriter"/>
              </a:rPr>
              <a:t>WHERE </a:t>
            </a:r>
            <a:r>
              <a:rPr lang="en-US" sz="1466" err="1">
                <a:latin typeface="American Typewriter"/>
                <a:cs typeface="American Typewriter"/>
              </a:rPr>
              <a:t>t.price</a:t>
            </a:r>
            <a:r>
              <a:rPr lang="en-US" sz="1466">
                <a:latin typeface="American Typewriter"/>
                <a:cs typeface="American Typewriter"/>
              </a:rPr>
              <a:t> &gt; 100.00</a:t>
            </a:r>
          </a:p>
        </p:txBody>
      </p:sp>
      <p:grpSp>
        <p:nvGrpSpPr>
          <p:cNvPr id="172" name="Group 69"/>
          <p:cNvGrpSpPr/>
          <p:nvPr/>
        </p:nvGrpSpPr>
        <p:grpSpPr>
          <a:xfrm>
            <a:off x="5620913" y="2169137"/>
            <a:ext cx="575109" cy="346492"/>
            <a:chOff x="3625850" y="2015724"/>
            <a:chExt cx="613609" cy="492918"/>
          </a:xfrm>
        </p:grpSpPr>
        <p:sp>
          <p:nvSpPr>
            <p:cNvPr id="173" name="Line 10"/>
            <p:cNvSpPr>
              <a:spLocks noChangeShapeType="1"/>
            </p:cNvSpPr>
            <p:nvPr/>
          </p:nvSpPr>
          <p:spPr bwMode="auto">
            <a:xfrm>
              <a:off x="3761230" y="2095972"/>
              <a:ext cx="9113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174" name="Picture 20" descr="MCDD01775_0000[1]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3625850" y="2026373"/>
              <a:ext cx="150423" cy="139196"/>
            </a:xfrm>
            <a:prstGeom prst="rect">
              <a:avLst/>
            </a:prstGeom>
            <a:noFill/>
          </p:spPr>
        </p:pic>
        <p:grpSp>
          <p:nvGrpSpPr>
            <p:cNvPr id="175" name="Group 26"/>
            <p:cNvGrpSpPr>
              <a:grpSpLocks/>
            </p:cNvGrpSpPr>
            <p:nvPr/>
          </p:nvGrpSpPr>
          <p:grpSpPr bwMode="auto">
            <a:xfrm>
              <a:off x="3828199" y="2015724"/>
              <a:ext cx="411268" cy="492918"/>
              <a:chOff x="2980" y="2203"/>
              <a:chExt cx="349" cy="414"/>
            </a:xfrm>
          </p:grpSpPr>
          <p:pic>
            <p:nvPicPr>
              <p:cNvPr id="176" name="Picture 27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77" name="Picture 28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46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78" name="Picture 29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47" y="2368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79" name="Picture 30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03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80" name="Picture 31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269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81" name="Picture 32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212" y="2335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82" name="Picture 33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13" y="2434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83" name="Picture 34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179" y="2500"/>
                <a:ext cx="117" cy="117"/>
              </a:xfrm>
              <a:prstGeom prst="rect">
                <a:avLst/>
              </a:prstGeom>
              <a:noFill/>
            </p:spPr>
          </p:pic>
          <p:pic>
            <p:nvPicPr>
              <p:cNvPr id="184" name="Picture 35" descr="MCED00214_0000[1]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2980" y="2218"/>
                <a:ext cx="118" cy="117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86" name="Google Shape;42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23961" y="1095153"/>
            <a:ext cx="749190" cy="6291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7" name="Google Shape;42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96882" y="1095153"/>
            <a:ext cx="749190" cy="6291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541971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B058ED1-02E1-7A0F-A8B0-D07FFA040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emFire</a:t>
            </a:r>
            <a:r>
              <a:rPr lang="en-US" dirty="0"/>
              <a:t> Data Resiliency Concept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63323BDC-5E46-DBCF-218D-E47AFF20A8C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6018" y="1252331"/>
            <a:ext cx="10972800" cy="4572000"/>
          </a:xfrm>
        </p:spPr>
        <p:txBody>
          <a:bodyPr>
            <a:normAutofit lnSpcReduction="10000"/>
          </a:bodyPr>
          <a:lstStyle/>
          <a:p>
            <a:r>
              <a:rPr lang="en-US" sz="2800" dirty="0">
                <a:solidFill>
                  <a:srgbClr val="00B0F0"/>
                </a:solidFill>
              </a:rPr>
              <a:t>Data Redundancy</a:t>
            </a:r>
          </a:p>
          <a:p>
            <a:pPr lvl="1"/>
            <a:r>
              <a:rPr lang="en-US" sz="2400" b="1" dirty="0"/>
              <a:t>Replicated Regions</a:t>
            </a:r>
            <a:r>
              <a:rPr lang="en-US" sz="2400" dirty="0"/>
              <a:t>: data is copied to all nodes. </a:t>
            </a:r>
          </a:p>
          <a:p>
            <a:pPr lvl="2"/>
            <a:r>
              <a:rPr lang="en-US" sz="2200" dirty="0"/>
              <a:t>Best for reference data that needs to be everywhere</a:t>
            </a:r>
          </a:p>
          <a:p>
            <a:pPr lvl="1"/>
            <a:r>
              <a:rPr lang="en-US" sz="2400" b="1" dirty="0"/>
              <a:t>Partitioned Regions</a:t>
            </a:r>
            <a:r>
              <a:rPr lang="en-US" sz="2400" dirty="0"/>
              <a:t>: data is partitioned with a redundancy factor. </a:t>
            </a:r>
          </a:p>
          <a:p>
            <a:pPr lvl="2"/>
            <a:r>
              <a:rPr lang="en-US" sz="2200" dirty="0"/>
              <a:t>Allows for scale</a:t>
            </a:r>
          </a:p>
          <a:p>
            <a:pPr lvl="2"/>
            <a:r>
              <a:rPr lang="en-US" sz="2200" dirty="0"/>
              <a:t>Automatically restores redundancy when there is an issue</a:t>
            </a:r>
          </a:p>
          <a:p>
            <a:r>
              <a:rPr lang="en-US" sz="2800" dirty="0">
                <a:solidFill>
                  <a:srgbClr val="00B0F0"/>
                </a:solidFill>
              </a:rPr>
              <a:t>Infrastructure redundancy</a:t>
            </a:r>
          </a:p>
          <a:p>
            <a:pPr lvl="1"/>
            <a:r>
              <a:rPr lang="en-US" sz="2400" b="1" dirty="0"/>
              <a:t>Redundancy Zones</a:t>
            </a:r>
            <a:r>
              <a:rPr lang="en-US" sz="2400" dirty="0"/>
              <a:t>: Allows for a “zone” faults to not impact </a:t>
            </a:r>
            <a:r>
              <a:rPr lang="en-US" sz="2400" dirty="0" err="1"/>
              <a:t>GemFire</a:t>
            </a:r>
            <a:r>
              <a:rPr lang="en-US" sz="2400" dirty="0"/>
              <a:t> data availability</a:t>
            </a:r>
            <a:endParaRPr lang="en-US" sz="2400" i="1" dirty="0">
              <a:solidFill>
                <a:srgbClr val="0070C0"/>
              </a:solidFill>
            </a:endParaRPr>
          </a:p>
          <a:p>
            <a:pPr lvl="1"/>
            <a:r>
              <a:rPr lang="en-US" sz="2400" b="1" dirty="0"/>
              <a:t>WAN</a:t>
            </a:r>
            <a:r>
              <a:rPr lang="en-US" sz="2400" dirty="0"/>
              <a:t>: Enables </a:t>
            </a:r>
            <a:r>
              <a:rPr lang="en-US" sz="2400" dirty="0" err="1"/>
              <a:t>GemFire</a:t>
            </a:r>
            <a:r>
              <a:rPr lang="en-US" sz="2400" dirty="0"/>
              <a:t> to span globe</a:t>
            </a:r>
            <a:endParaRPr lang="en-US" sz="2400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3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8A0D8A7-5EE2-A501-782B-4250C65C4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mFire Redundancy Sounds Complicated - It’s Not!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83CC10A-7AC7-6D1B-E4D5-30839F36AA5C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How to Make Replicated Reg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BC37F6-636F-863D-130F-0EC9D7CC2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Create The Reg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897D33-D783-2FDF-895A-F064698708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9808" y="2621020"/>
            <a:ext cx="5071595" cy="1244103"/>
          </a:xfrm>
        </p:spPr>
        <p:txBody>
          <a:bodyPr/>
          <a:lstStyle/>
          <a:p>
            <a:r>
              <a:rPr lang="en-US" err="1">
                <a:latin typeface="Source Code Pro" panose="020B0509030403020204" pitchFamily="49" charset="0"/>
                <a:ea typeface="Source Code Pro" panose="020B0509030403020204" pitchFamily="49" charset="0"/>
              </a:rPr>
              <a:t>gfsh</a:t>
            </a:r>
            <a:r>
              <a:rPr lang="en-US">
                <a:latin typeface="Source Code Pro" panose="020B0509030403020204" pitchFamily="49" charset="0"/>
                <a:ea typeface="Source Code Pro" panose="020B0509030403020204" pitchFamily="49" charset="0"/>
              </a:rPr>
              <a:t>&gt;create region --name=Products </a:t>
            </a:r>
          </a:p>
          <a:p>
            <a:r>
              <a:rPr lang="en-US">
                <a:highlight>
                  <a:srgbClr val="FFFF00"/>
                </a:highlight>
                <a:latin typeface="Source Code Pro" panose="020B0509030403020204" pitchFamily="49" charset="0"/>
                <a:ea typeface="Source Code Pro" panose="020B0509030403020204" pitchFamily="49" charset="0"/>
              </a:rPr>
              <a:t>--type=REPLICA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443386-E3F0-B608-2FF9-7C79747BD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Application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C2EB41E-D482-CA80-2AE7-4C1A8612BC05}"/>
              </a:ext>
            </a:extLst>
          </p:cNvPr>
          <p:cNvGrpSpPr/>
          <p:nvPr/>
        </p:nvGrpSpPr>
        <p:grpSpPr>
          <a:xfrm>
            <a:off x="428988" y="4302841"/>
            <a:ext cx="5372101" cy="815591"/>
            <a:chOff x="929489" y="3262316"/>
            <a:chExt cx="7279510" cy="1240633"/>
          </a:xfrm>
        </p:grpSpPr>
        <p:sp>
          <p:nvSpPr>
            <p:cNvPr id="85" name="Rectangle 4">
              <a:extLst>
                <a:ext uri="{FF2B5EF4-FFF2-40B4-BE49-F238E27FC236}">
                  <a16:creationId xmlns:a16="http://schemas.microsoft.com/office/drawing/2014/main" id="{B3492ABF-A44D-E6C3-EFBD-D05D25BA5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489" y="3268270"/>
              <a:ext cx="2155060" cy="12346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86" name="Rectangle 13">
              <a:extLst>
                <a:ext uri="{FF2B5EF4-FFF2-40B4-BE49-F238E27FC236}">
                  <a16:creationId xmlns:a16="http://schemas.microsoft.com/office/drawing/2014/main" id="{BBD56BD0-D0A5-68DA-AE64-9AB2C57D6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156" y="3262316"/>
              <a:ext cx="2143125" cy="61911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Rectangle 4">
              <a:extLst>
                <a:ext uri="{FF2B5EF4-FFF2-40B4-BE49-F238E27FC236}">
                  <a16:creationId xmlns:a16="http://schemas.microsoft.com/office/drawing/2014/main" id="{A807433F-A735-FC0D-3B0F-E60FB3359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1714" y="3268270"/>
              <a:ext cx="2155060" cy="12346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88" name="Rectangle 4">
              <a:extLst>
                <a:ext uri="{FF2B5EF4-FFF2-40B4-BE49-F238E27FC236}">
                  <a16:creationId xmlns:a16="http://schemas.microsoft.com/office/drawing/2014/main" id="{A13B0E1E-7E9D-0A32-E393-4629BFD47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939" y="3268270"/>
              <a:ext cx="2155060" cy="12346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grpSp>
          <p:nvGrpSpPr>
            <p:cNvPr id="89" name="Group 92">
              <a:extLst>
                <a:ext uri="{FF2B5EF4-FFF2-40B4-BE49-F238E27FC236}">
                  <a16:creationId xmlns:a16="http://schemas.microsoft.com/office/drawing/2014/main" id="{2C7EBC08-ED4B-99B1-C222-AE904FF89777}"/>
                </a:ext>
              </a:extLst>
            </p:cNvPr>
            <p:cNvGrpSpPr/>
            <p:nvPr/>
          </p:nvGrpSpPr>
          <p:grpSpPr>
            <a:xfrm>
              <a:off x="3026574" y="3581400"/>
              <a:ext cx="554831" cy="907258"/>
              <a:chOff x="3026569" y="3581399"/>
              <a:chExt cx="554831" cy="907258"/>
            </a:xfrm>
          </p:grpSpPr>
          <p:sp>
            <p:nvSpPr>
              <p:cNvPr id="90" name="Moon 89">
                <a:extLst>
                  <a:ext uri="{FF2B5EF4-FFF2-40B4-BE49-F238E27FC236}">
                    <a16:creationId xmlns:a16="http://schemas.microsoft.com/office/drawing/2014/main" id="{44034D69-8F78-17DB-3A2A-3E4B628D2ED8}"/>
                  </a:ext>
                </a:extLst>
              </p:cNvPr>
              <p:cNvSpPr/>
              <p:nvPr/>
            </p:nvSpPr>
            <p:spPr bwMode="auto">
              <a:xfrm rot="5400000">
                <a:off x="3133725" y="4025883"/>
                <a:ext cx="304800" cy="482600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1" name="Moon 90">
                <a:extLst>
                  <a:ext uri="{FF2B5EF4-FFF2-40B4-BE49-F238E27FC236}">
                    <a16:creationId xmlns:a16="http://schemas.microsoft.com/office/drawing/2014/main" id="{6A2D318D-6843-6CA9-C58A-B882BA2250A1}"/>
                  </a:ext>
                </a:extLst>
              </p:cNvPr>
              <p:cNvSpPr/>
              <p:nvPr/>
            </p:nvSpPr>
            <p:spPr bwMode="auto">
              <a:xfrm rot="16200000" flipV="1">
                <a:off x="3133725" y="3509176"/>
                <a:ext cx="304800" cy="482600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366829E-D3AA-51F5-9EB6-D7C234E05468}"/>
                  </a:ext>
                </a:extLst>
              </p:cNvPr>
              <p:cNvSpPr/>
              <p:nvPr/>
            </p:nvSpPr>
            <p:spPr bwMode="auto">
              <a:xfrm>
                <a:off x="3047506" y="3779044"/>
                <a:ext cx="469194" cy="459582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0EF5D196-62D5-2C05-9252-2465BBE934BD}"/>
                  </a:ext>
                </a:extLst>
              </p:cNvPr>
              <p:cNvSpPr/>
              <p:nvPr/>
            </p:nvSpPr>
            <p:spPr bwMode="auto">
              <a:xfrm>
                <a:off x="3026569" y="3581399"/>
                <a:ext cx="52387" cy="907257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8797629A-2A5D-B80D-56E1-568F2C4F5338}"/>
                  </a:ext>
                </a:extLst>
              </p:cNvPr>
              <p:cNvSpPr/>
              <p:nvPr/>
            </p:nvSpPr>
            <p:spPr bwMode="auto">
              <a:xfrm>
                <a:off x="3495675" y="3581399"/>
                <a:ext cx="85725" cy="907258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68F1AFAB-16D4-C051-3595-FDBF556C631F}"/>
                  </a:ext>
                </a:extLst>
              </p:cNvPr>
              <p:cNvSpPr/>
              <p:nvPr/>
            </p:nvSpPr>
            <p:spPr bwMode="auto">
              <a:xfrm>
                <a:off x="3064669" y="3731420"/>
                <a:ext cx="45719" cy="571500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C76E6240-1ADF-459C-0628-04384E4692E9}"/>
                  </a:ext>
                </a:extLst>
              </p:cNvPr>
              <p:cNvSpPr/>
              <p:nvPr/>
            </p:nvSpPr>
            <p:spPr bwMode="auto">
              <a:xfrm>
                <a:off x="3459956" y="3707606"/>
                <a:ext cx="61913" cy="60721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97" name="Rectangle 13">
              <a:extLst>
                <a:ext uri="{FF2B5EF4-FFF2-40B4-BE49-F238E27FC236}">
                  <a16:creationId xmlns:a16="http://schemas.microsoft.com/office/drawing/2014/main" id="{A239D43D-2F29-B923-C566-D0DC4AE14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387" y="3262316"/>
              <a:ext cx="2143125" cy="61911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Rectangle 13">
              <a:extLst>
                <a:ext uri="{FF2B5EF4-FFF2-40B4-BE49-F238E27FC236}">
                  <a16:creationId xmlns:a16="http://schemas.microsoft.com/office/drawing/2014/main" id="{5C3758D3-765D-E935-1F7C-35EAF9C8A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8612" y="3262316"/>
              <a:ext cx="2143125" cy="61911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99" name="Group 92">
              <a:extLst>
                <a:ext uri="{FF2B5EF4-FFF2-40B4-BE49-F238E27FC236}">
                  <a16:creationId xmlns:a16="http://schemas.microsoft.com/office/drawing/2014/main" id="{73756754-1E88-7891-BCBF-69F08248DD7C}"/>
                </a:ext>
              </a:extLst>
            </p:cNvPr>
            <p:cNvGrpSpPr/>
            <p:nvPr/>
          </p:nvGrpSpPr>
          <p:grpSpPr>
            <a:xfrm>
              <a:off x="5588800" y="3581400"/>
              <a:ext cx="554831" cy="907258"/>
              <a:chOff x="3026569" y="3581399"/>
              <a:chExt cx="554831" cy="907258"/>
            </a:xfrm>
          </p:grpSpPr>
          <p:sp>
            <p:nvSpPr>
              <p:cNvPr id="100" name="Moon 99">
                <a:extLst>
                  <a:ext uri="{FF2B5EF4-FFF2-40B4-BE49-F238E27FC236}">
                    <a16:creationId xmlns:a16="http://schemas.microsoft.com/office/drawing/2014/main" id="{AF959B7F-0E97-3CA1-3996-D49E388B51D3}"/>
                  </a:ext>
                </a:extLst>
              </p:cNvPr>
              <p:cNvSpPr/>
              <p:nvPr/>
            </p:nvSpPr>
            <p:spPr bwMode="auto">
              <a:xfrm rot="5400000">
                <a:off x="3133725" y="4025883"/>
                <a:ext cx="304800" cy="482600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1" name="Moon 100">
                <a:extLst>
                  <a:ext uri="{FF2B5EF4-FFF2-40B4-BE49-F238E27FC236}">
                    <a16:creationId xmlns:a16="http://schemas.microsoft.com/office/drawing/2014/main" id="{E6442710-C510-1B6C-75E6-08FE73375BA7}"/>
                  </a:ext>
                </a:extLst>
              </p:cNvPr>
              <p:cNvSpPr/>
              <p:nvPr/>
            </p:nvSpPr>
            <p:spPr bwMode="auto">
              <a:xfrm rot="16200000" flipV="1">
                <a:off x="3133725" y="3509176"/>
                <a:ext cx="304800" cy="482600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C4D8F6A-DD44-3597-3DE1-F33EECAA64B0}"/>
                  </a:ext>
                </a:extLst>
              </p:cNvPr>
              <p:cNvSpPr/>
              <p:nvPr/>
            </p:nvSpPr>
            <p:spPr bwMode="auto">
              <a:xfrm>
                <a:off x="3047506" y="3779044"/>
                <a:ext cx="469194" cy="459582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F995314A-86A0-B7DD-60AF-D3D02A8B5FB1}"/>
                  </a:ext>
                </a:extLst>
              </p:cNvPr>
              <p:cNvSpPr/>
              <p:nvPr/>
            </p:nvSpPr>
            <p:spPr bwMode="auto">
              <a:xfrm>
                <a:off x="3026569" y="3581399"/>
                <a:ext cx="52387" cy="907257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E9239D44-5B72-5C93-D79D-E05BC7CA8074}"/>
                  </a:ext>
                </a:extLst>
              </p:cNvPr>
              <p:cNvSpPr/>
              <p:nvPr/>
            </p:nvSpPr>
            <p:spPr bwMode="auto">
              <a:xfrm>
                <a:off x="3495675" y="3581399"/>
                <a:ext cx="85725" cy="907258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23634B8B-5EE0-E03B-E795-7FBB5C3F329D}"/>
                  </a:ext>
                </a:extLst>
              </p:cNvPr>
              <p:cNvSpPr/>
              <p:nvPr/>
            </p:nvSpPr>
            <p:spPr bwMode="auto">
              <a:xfrm>
                <a:off x="3064669" y="3731420"/>
                <a:ext cx="45719" cy="571500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24F7F71C-0D14-43A9-8A3D-A5FE495EAF9F}"/>
                  </a:ext>
                </a:extLst>
              </p:cNvPr>
              <p:cNvSpPr/>
              <p:nvPr/>
            </p:nvSpPr>
            <p:spPr bwMode="auto">
              <a:xfrm>
                <a:off x="3459956" y="3707606"/>
                <a:ext cx="61913" cy="60721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7" name="AutoShape 44">
              <a:extLst>
                <a:ext uri="{FF2B5EF4-FFF2-40B4-BE49-F238E27FC236}">
                  <a16:creationId xmlns:a16="http://schemas.microsoft.com/office/drawing/2014/main" id="{5308185E-E2C9-32AE-3414-5548D09A5B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0556" y="4257677"/>
              <a:ext cx="1958975" cy="17859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Products</a:t>
              </a:r>
            </a:p>
          </p:txBody>
        </p:sp>
        <p:sp>
          <p:nvSpPr>
            <p:cNvPr id="108" name="AutoShape 44">
              <a:extLst>
                <a:ext uri="{FF2B5EF4-FFF2-40B4-BE49-F238E27FC236}">
                  <a16:creationId xmlns:a16="http://schemas.microsoft.com/office/drawing/2014/main" id="{97FB1ECB-994E-8FCA-0403-F87DC693E4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067" y="4261377"/>
              <a:ext cx="1958975" cy="17859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Products</a:t>
              </a:r>
            </a:p>
          </p:txBody>
        </p:sp>
        <p:sp>
          <p:nvSpPr>
            <p:cNvPr id="109" name="AutoShape 44">
              <a:extLst>
                <a:ext uri="{FF2B5EF4-FFF2-40B4-BE49-F238E27FC236}">
                  <a16:creationId xmlns:a16="http://schemas.microsoft.com/office/drawing/2014/main" id="{A6B453C8-713C-028B-B55B-777963617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95" y="4263417"/>
              <a:ext cx="1958975" cy="178593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Products</a:t>
              </a:r>
            </a:p>
          </p:txBody>
        </p:sp>
      </p:grpSp>
      <p:pic>
        <p:nvPicPr>
          <p:cNvPr id="113" name="Content Placeholder 112">
            <a:extLst>
              <a:ext uri="{FF2B5EF4-FFF2-40B4-BE49-F238E27FC236}">
                <a16:creationId xmlns:a16="http://schemas.microsoft.com/office/drawing/2014/main" id="{531D3C4E-8D78-D564-1CA4-28CB8E7523E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2"/>
          <a:stretch>
            <a:fillRect/>
          </a:stretch>
        </p:blipFill>
        <p:spPr>
          <a:xfrm>
            <a:off x="6556375" y="2897585"/>
            <a:ext cx="4999178" cy="2812037"/>
          </a:xfrm>
          <a:prstGeom prst="rect">
            <a:avLst/>
          </a:prstGeom>
        </p:spPr>
      </p:pic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404482FA-80AD-1DA1-0F1A-CC25D282010E}"/>
              </a:ext>
            </a:extLst>
          </p:cNvPr>
          <p:cNvSpPr txBox="1">
            <a:spLocks/>
          </p:cNvSpPr>
          <p:nvPr/>
        </p:nvSpPr>
        <p:spPr bwMode="gray">
          <a:xfrm>
            <a:off x="579241" y="5405186"/>
            <a:ext cx="5071595" cy="7388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lang="en-US" sz="18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lang="en-US" sz="14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>
                <a:ea typeface="Source Code Pro" panose="020B0509030403020204" pitchFamily="49" charset="0"/>
                <a:cs typeface="Arial" panose="020B0604020202020204" pitchFamily="34" charset="0"/>
              </a:rPr>
              <a:t>All data is replicated across all the GemFire servers</a:t>
            </a:r>
          </a:p>
        </p:txBody>
      </p:sp>
    </p:spTree>
    <p:extLst>
      <p:ext uri="{BB962C8B-B14F-4D97-AF65-F5344CB8AC3E}">
        <p14:creationId xmlns:p14="http://schemas.microsoft.com/office/powerpoint/2010/main" val="224806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8A0D8A7-5EE2-A501-782B-4250C65C4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mFire Redundancy Sounds Complicated – It’s Not!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83CC10A-7AC7-6D1B-E4D5-30839F36AA5C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How to Make Partition Reg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BC37F6-636F-863D-130F-0EC9D7CC2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Create The Reg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897D33-D783-2FDF-895A-F064698708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9808" y="2621020"/>
            <a:ext cx="5071595" cy="1244103"/>
          </a:xfrm>
        </p:spPr>
        <p:txBody>
          <a:bodyPr/>
          <a:lstStyle/>
          <a:p>
            <a:r>
              <a:rPr lang="en-US" err="1">
                <a:latin typeface="Source Code Pro" panose="020B0509030403020204" pitchFamily="49" charset="0"/>
                <a:ea typeface="Source Code Pro" panose="020B0509030403020204" pitchFamily="49" charset="0"/>
              </a:rPr>
              <a:t>gfsh</a:t>
            </a:r>
            <a:r>
              <a:rPr lang="en-US">
                <a:latin typeface="Source Code Pro" panose="020B0509030403020204" pitchFamily="49" charset="0"/>
                <a:ea typeface="Source Code Pro" panose="020B0509030403020204" pitchFamily="49" charset="0"/>
              </a:rPr>
              <a:t>&gt;create region --name=Customers </a:t>
            </a:r>
          </a:p>
          <a:p>
            <a:r>
              <a:rPr lang="en-US">
                <a:highlight>
                  <a:srgbClr val="FFFF00"/>
                </a:highlight>
                <a:latin typeface="Source Code Pro" panose="020B0509030403020204" pitchFamily="49" charset="0"/>
                <a:ea typeface="Source Code Pro" panose="020B0509030403020204" pitchFamily="49" charset="0"/>
              </a:rPr>
              <a:t>--type=PARTITION</a:t>
            </a:r>
            <a:r>
              <a:rPr lang="en-US">
                <a:latin typeface="Source Code Pro" panose="020B0509030403020204" pitchFamily="49" charset="0"/>
                <a:ea typeface="Source Code Pro" panose="020B0509030403020204" pitchFamily="49" charset="0"/>
              </a:rPr>
              <a:t> --redundant-copies=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443386-E3F0-B608-2FF9-7C79747BD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Application</a:t>
            </a:r>
          </a:p>
        </p:txBody>
      </p:sp>
      <p:pic>
        <p:nvPicPr>
          <p:cNvPr id="84" name="Content Placeholder 83">
            <a:extLst>
              <a:ext uri="{FF2B5EF4-FFF2-40B4-BE49-F238E27FC236}">
                <a16:creationId xmlns:a16="http://schemas.microsoft.com/office/drawing/2014/main" id="{00C48F39-D344-B80A-D3B7-49783D9F1E5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2"/>
          <a:stretch>
            <a:fillRect/>
          </a:stretch>
        </p:blipFill>
        <p:spPr>
          <a:xfrm>
            <a:off x="6556375" y="2897585"/>
            <a:ext cx="5052642" cy="284211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46B2B-265E-D86B-C975-910327DEF83B}"/>
              </a:ext>
            </a:extLst>
          </p:cNvPr>
          <p:cNvGrpSpPr/>
          <p:nvPr/>
        </p:nvGrpSpPr>
        <p:grpSpPr>
          <a:xfrm>
            <a:off x="460932" y="4222110"/>
            <a:ext cx="5154757" cy="829788"/>
            <a:chOff x="460932" y="4222110"/>
            <a:chExt cx="5154757" cy="829788"/>
          </a:xfrm>
        </p:grpSpPr>
        <p:sp>
          <p:nvSpPr>
            <p:cNvPr id="45" name="Rectangle 4">
              <a:extLst>
                <a:ext uri="{FF2B5EF4-FFF2-40B4-BE49-F238E27FC236}">
                  <a16:creationId xmlns:a16="http://schemas.microsoft.com/office/drawing/2014/main" id="{A4CBB60A-EA19-4EFD-28FE-9FBC5132F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932" y="4225808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17B03582-FDA6-D02C-BAD1-439A9F086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2936" y="4225809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47" name="Rectangle 4">
              <a:extLst>
                <a:ext uri="{FF2B5EF4-FFF2-40B4-BE49-F238E27FC236}">
                  <a16:creationId xmlns:a16="http://schemas.microsoft.com/office/drawing/2014/main" id="{DA1916F7-EB20-87EC-518D-CA17150B0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940" y="4225809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57" name="Moon 56">
              <a:extLst>
                <a:ext uri="{FF2B5EF4-FFF2-40B4-BE49-F238E27FC236}">
                  <a16:creationId xmlns:a16="http://schemas.microsoft.com/office/drawing/2014/main" id="{5051E2F7-D0C7-8B8D-381E-85217FC5E599}"/>
                </a:ext>
              </a:extLst>
            </p:cNvPr>
            <p:cNvSpPr/>
            <p:nvPr/>
          </p:nvSpPr>
          <p:spPr bwMode="auto">
            <a:xfrm rot="5400000">
              <a:off x="1593289" y="4767771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Moon 57">
              <a:extLst>
                <a:ext uri="{FF2B5EF4-FFF2-40B4-BE49-F238E27FC236}">
                  <a16:creationId xmlns:a16="http://schemas.microsoft.com/office/drawing/2014/main" id="{7A7561BC-BD09-FDAF-45C0-1025DBE5C59A}"/>
                </a:ext>
              </a:extLst>
            </p:cNvPr>
            <p:cNvSpPr/>
            <p:nvPr/>
          </p:nvSpPr>
          <p:spPr bwMode="auto">
            <a:xfrm rot="16200000" flipV="1">
              <a:off x="1593289" y="4422057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0EF2F7E-7744-A013-F62B-02E01202305A}"/>
                </a:ext>
              </a:extLst>
            </p:cNvPr>
            <p:cNvSpPr/>
            <p:nvPr/>
          </p:nvSpPr>
          <p:spPr bwMode="auto">
            <a:xfrm>
              <a:off x="1570275" y="4567556"/>
              <a:ext cx="245747" cy="30749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741CAE9-73B1-D87E-980B-D46ABF477029}"/>
                </a:ext>
              </a:extLst>
            </p:cNvPr>
            <p:cNvSpPr/>
            <p:nvPr/>
          </p:nvSpPr>
          <p:spPr bwMode="auto">
            <a:xfrm>
              <a:off x="1559309" y="4435317"/>
              <a:ext cx="27438" cy="60702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AAA71F1-DA69-F96E-AB08-010A6909339C}"/>
                </a:ext>
              </a:extLst>
            </p:cNvPr>
            <p:cNvSpPr/>
            <p:nvPr/>
          </p:nvSpPr>
          <p:spPr bwMode="auto">
            <a:xfrm>
              <a:off x="1805010" y="4435317"/>
              <a:ext cx="44900" cy="607021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BB0A97-5FCF-256A-63A6-F05CF3333E81}"/>
                </a:ext>
              </a:extLst>
            </p:cNvPr>
            <p:cNvSpPr/>
            <p:nvPr/>
          </p:nvSpPr>
          <p:spPr bwMode="auto">
            <a:xfrm>
              <a:off x="1579264" y="4535692"/>
              <a:ext cx="23946" cy="382375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07924E1-EF69-ED50-F201-EA667FA23615}"/>
                </a:ext>
              </a:extLst>
            </p:cNvPr>
            <p:cNvSpPr/>
            <p:nvPr/>
          </p:nvSpPr>
          <p:spPr bwMode="auto">
            <a:xfrm>
              <a:off x="1786302" y="4519759"/>
              <a:ext cx="32428" cy="40627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Moon 49">
              <a:extLst>
                <a:ext uri="{FF2B5EF4-FFF2-40B4-BE49-F238E27FC236}">
                  <a16:creationId xmlns:a16="http://schemas.microsoft.com/office/drawing/2014/main" id="{88C7F278-333C-FACE-B756-CF432204E30A}"/>
                </a:ext>
              </a:extLst>
            </p:cNvPr>
            <p:cNvSpPr/>
            <p:nvPr/>
          </p:nvSpPr>
          <p:spPr bwMode="auto">
            <a:xfrm rot="5400000">
              <a:off x="2935294" y="4767771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Moon 50">
              <a:extLst>
                <a:ext uri="{FF2B5EF4-FFF2-40B4-BE49-F238E27FC236}">
                  <a16:creationId xmlns:a16="http://schemas.microsoft.com/office/drawing/2014/main" id="{D4EDC869-5471-3480-66DA-F24F0E1A13D2}"/>
                </a:ext>
              </a:extLst>
            </p:cNvPr>
            <p:cNvSpPr/>
            <p:nvPr/>
          </p:nvSpPr>
          <p:spPr bwMode="auto">
            <a:xfrm rot="16200000" flipV="1">
              <a:off x="2935294" y="4422057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AA08756-2426-2C8A-CC05-12590BDAAF79}"/>
                </a:ext>
              </a:extLst>
            </p:cNvPr>
            <p:cNvSpPr/>
            <p:nvPr/>
          </p:nvSpPr>
          <p:spPr bwMode="auto">
            <a:xfrm>
              <a:off x="2912280" y="4567556"/>
              <a:ext cx="245747" cy="30749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5980885-E690-B540-AF69-EC9CA82F0BD0}"/>
                </a:ext>
              </a:extLst>
            </p:cNvPr>
            <p:cNvSpPr/>
            <p:nvPr/>
          </p:nvSpPr>
          <p:spPr bwMode="auto">
            <a:xfrm>
              <a:off x="2901314" y="4435317"/>
              <a:ext cx="27438" cy="60702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FF37ECB-614F-A989-FF6B-657670A70084}"/>
                </a:ext>
              </a:extLst>
            </p:cNvPr>
            <p:cNvSpPr/>
            <p:nvPr/>
          </p:nvSpPr>
          <p:spPr bwMode="auto">
            <a:xfrm>
              <a:off x="3147015" y="4435317"/>
              <a:ext cx="44900" cy="607021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82FB07-4CC5-1272-96A4-0815C7195A63}"/>
                </a:ext>
              </a:extLst>
            </p:cNvPr>
            <p:cNvSpPr/>
            <p:nvPr/>
          </p:nvSpPr>
          <p:spPr bwMode="auto">
            <a:xfrm>
              <a:off x="2921269" y="4535692"/>
              <a:ext cx="23946" cy="382375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72CAF07-CB04-6987-C11A-4FEB3726A115}"/>
                </a:ext>
              </a:extLst>
            </p:cNvPr>
            <p:cNvSpPr/>
            <p:nvPr/>
          </p:nvSpPr>
          <p:spPr bwMode="auto">
            <a:xfrm>
              <a:off x="3128307" y="4519759"/>
              <a:ext cx="32428" cy="40627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AutoShape 44">
              <a:extLst>
                <a:ext uri="{FF2B5EF4-FFF2-40B4-BE49-F238E27FC236}">
                  <a16:creationId xmlns:a16="http://schemas.microsoft.com/office/drawing/2014/main" id="{BCE17648-3385-682D-4AEA-808306868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45" y="4290147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00000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AutoShape 44">
              <a:extLst>
                <a:ext uri="{FF2B5EF4-FFF2-40B4-BE49-F238E27FC236}">
                  <a16:creationId xmlns:a16="http://schemas.microsoft.com/office/drawing/2014/main" id="{A4937C09-792F-3935-155A-7BA58A135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436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00000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AutoShape 44">
              <a:extLst>
                <a:ext uri="{FF2B5EF4-FFF2-40B4-BE49-F238E27FC236}">
                  <a16:creationId xmlns:a16="http://schemas.microsoft.com/office/drawing/2014/main" id="{379E9E55-C5FE-5216-1BDF-67D5BDDED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098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000000"/>
                </a:gs>
                <a:gs pos="50000">
                  <a:srgbClr val="0000FF"/>
                </a:gs>
                <a:gs pos="80000">
                  <a:srgbClr val="00000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Rectangle 13">
              <a:extLst>
                <a:ext uri="{FF2B5EF4-FFF2-40B4-BE49-F238E27FC236}">
                  <a16:creationId xmlns:a16="http://schemas.microsoft.com/office/drawing/2014/main" id="{880ABB28-E3E2-005D-E35A-9C9598D4F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382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Rectangle 13">
              <a:extLst>
                <a:ext uri="{FF2B5EF4-FFF2-40B4-BE49-F238E27FC236}">
                  <a16:creationId xmlns:a16="http://schemas.microsoft.com/office/drawing/2014/main" id="{3F938DF7-BB27-AFCF-576C-DAD16A1C7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726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Rectangle 13">
              <a:extLst>
                <a:ext uri="{FF2B5EF4-FFF2-40B4-BE49-F238E27FC236}">
                  <a16:creationId xmlns:a16="http://schemas.microsoft.com/office/drawing/2014/main" id="{E3E3A27F-51DC-42A6-423D-8A82233BD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0070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AutoShape 44" descr="Left:  Customers">
              <a:extLst>
                <a:ext uri="{FF2B5EF4-FFF2-40B4-BE49-F238E27FC236}">
                  <a16:creationId xmlns:a16="http://schemas.microsoft.com/office/drawing/2014/main" id="{2CA1BACA-1870-A141-4BB0-FBBD9F561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45" y="4290147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69" name="AutoShape 44">
              <a:extLst>
                <a:ext uri="{FF2B5EF4-FFF2-40B4-BE49-F238E27FC236}">
                  <a16:creationId xmlns:a16="http://schemas.microsoft.com/office/drawing/2014/main" id="{D368FF4E-7D30-CD82-2293-27BA0A19D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098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68" name="AutoShape 44" descr="Right:  Customers">
              <a:extLst>
                <a:ext uri="{FF2B5EF4-FFF2-40B4-BE49-F238E27FC236}">
                  <a16:creationId xmlns:a16="http://schemas.microsoft.com/office/drawing/2014/main" id="{1E3F01BC-8930-BB13-0341-13EABF0F4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435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78" name="AutoShape 44">
              <a:extLst>
                <a:ext uri="{FF2B5EF4-FFF2-40B4-BE49-F238E27FC236}">
                  <a16:creationId xmlns:a16="http://schemas.microsoft.com/office/drawing/2014/main" id="{2CDC2971-8540-F7F9-06F3-35A01B244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4509" y="4395199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79" name="AutoShape 44" descr="Right:  Customers">
              <a:extLst>
                <a:ext uri="{FF2B5EF4-FFF2-40B4-BE49-F238E27FC236}">
                  <a16:creationId xmlns:a16="http://schemas.microsoft.com/office/drawing/2014/main" id="{D049F2D3-313C-B334-7CC8-9F9DA22BC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197" y="4411622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0" name="AutoShape 44" descr="Left:  Customers">
              <a:extLst>
                <a:ext uri="{FF2B5EF4-FFF2-40B4-BE49-F238E27FC236}">
                  <a16:creationId xmlns:a16="http://schemas.microsoft.com/office/drawing/2014/main" id="{F4C8D951-897C-52AB-A5EB-605C3B49C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202" y="4396296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3" name="AutoShape 44">
              <a:extLst>
                <a:ext uri="{FF2B5EF4-FFF2-40B4-BE49-F238E27FC236}">
                  <a16:creationId xmlns:a16="http://schemas.microsoft.com/office/drawing/2014/main" id="{E6165208-7051-045A-C6C0-86E135B63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272" y="4520367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3" name="Rectangle 4">
              <a:extLst>
                <a:ext uri="{FF2B5EF4-FFF2-40B4-BE49-F238E27FC236}">
                  <a16:creationId xmlns:a16="http://schemas.microsoft.com/office/drawing/2014/main" id="{59100204-669F-3E5D-5584-94D8F0406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944" y="4222110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E8ABF79-EFE0-A255-F152-699B5694EFB7}"/>
                </a:ext>
              </a:extLst>
            </p:cNvPr>
            <p:cNvGrpSpPr/>
            <p:nvPr/>
          </p:nvGrpSpPr>
          <p:grpSpPr>
            <a:xfrm>
              <a:off x="4251524" y="4392758"/>
              <a:ext cx="290601" cy="607021"/>
              <a:chOff x="3053714" y="4587717"/>
              <a:chExt cx="290601" cy="607021"/>
            </a:xfrm>
          </p:grpSpPr>
          <p:sp>
            <p:nvSpPr>
              <p:cNvPr id="4" name="Moon 3">
                <a:extLst>
                  <a:ext uri="{FF2B5EF4-FFF2-40B4-BE49-F238E27FC236}">
                    <a16:creationId xmlns:a16="http://schemas.microsoft.com/office/drawing/2014/main" id="{8648A036-375E-7EC4-A0A9-5E46BD240246}"/>
                  </a:ext>
                </a:extLst>
              </p:cNvPr>
              <p:cNvSpPr/>
              <p:nvPr/>
            </p:nvSpPr>
            <p:spPr bwMode="auto">
              <a:xfrm rot="5400000">
                <a:off x="3087694" y="4920171"/>
                <a:ext cx="203933" cy="252769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" name="Moon 7">
                <a:extLst>
                  <a:ext uri="{FF2B5EF4-FFF2-40B4-BE49-F238E27FC236}">
                    <a16:creationId xmlns:a16="http://schemas.microsoft.com/office/drawing/2014/main" id="{4E9A7961-B8C0-8EB7-A0D1-A55C25E9EA0B}"/>
                  </a:ext>
                </a:extLst>
              </p:cNvPr>
              <p:cNvSpPr/>
              <p:nvPr/>
            </p:nvSpPr>
            <p:spPr bwMode="auto">
              <a:xfrm rot="16200000" flipV="1">
                <a:off x="3087694" y="4574457"/>
                <a:ext cx="203933" cy="252769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28B2-68D5-0302-D674-AF5FDD28C07B}"/>
                  </a:ext>
                </a:extLst>
              </p:cNvPr>
              <p:cNvSpPr/>
              <p:nvPr/>
            </p:nvSpPr>
            <p:spPr bwMode="auto">
              <a:xfrm>
                <a:off x="3064680" y="4719956"/>
                <a:ext cx="245747" cy="30749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BDBD5C-299B-241E-062C-00A2AC8E4DE0}"/>
                  </a:ext>
                </a:extLst>
              </p:cNvPr>
              <p:cNvSpPr/>
              <p:nvPr/>
            </p:nvSpPr>
            <p:spPr bwMode="auto">
              <a:xfrm>
                <a:off x="3053714" y="4587717"/>
                <a:ext cx="27438" cy="607020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7E7E6580-3485-5D8C-9D39-A454EF6BC551}"/>
                  </a:ext>
                </a:extLst>
              </p:cNvPr>
              <p:cNvSpPr/>
              <p:nvPr/>
            </p:nvSpPr>
            <p:spPr bwMode="auto">
              <a:xfrm>
                <a:off x="3299415" y="4587717"/>
                <a:ext cx="44900" cy="6070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97225A9-8E44-10EB-A578-C87A880DC14B}"/>
                  </a:ext>
                </a:extLst>
              </p:cNvPr>
              <p:cNvSpPr/>
              <p:nvPr/>
            </p:nvSpPr>
            <p:spPr bwMode="auto">
              <a:xfrm>
                <a:off x="3073669" y="4688092"/>
                <a:ext cx="23946" cy="38237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2F9A8FF-57FB-3323-3E7E-F77B8DA123B0}"/>
                  </a:ext>
                </a:extLst>
              </p:cNvPr>
              <p:cNvSpPr/>
              <p:nvPr/>
            </p:nvSpPr>
            <p:spPr bwMode="auto">
              <a:xfrm>
                <a:off x="3280707" y="4672159"/>
                <a:ext cx="32428" cy="40627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248441B2-A8F5-8F1C-9A2E-8C39560147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7309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AutoShape 44" descr="Right:  Customers">
              <a:extLst>
                <a:ext uri="{FF2B5EF4-FFF2-40B4-BE49-F238E27FC236}">
                  <a16:creationId xmlns:a16="http://schemas.microsoft.com/office/drawing/2014/main" id="{45C509E7-F77D-B2C4-A77D-37DD3602F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103" y="4295101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1" name="AutoShape 44" descr="Left:  Customers">
              <a:extLst>
                <a:ext uri="{FF2B5EF4-FFF2-40B4-BE49-F238E27FC236}">
                  <a16:creationId xmlns:a16="http://schemas.microsoft.com/office/drawing/2014/main" id="{521A0D4F-E83D-827D-487F-04467C816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3638" y="4401102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</p:grp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AB128D46-AA3A-1594-EE20-4942F2B641FE}"/>
              </a:ext>
            </a:extLst>
          </p:cNvPr>
          <p:cNvSpPr txBox="1">
            <a:spLocks/>
          </p:cNvSpPr>
          <p:nvPr/>
        </p:nvSpPr>
        <p:spPr bwMode="gray">
          <a:xfrm>
            <a:off x="579241" y="5405186"/>
            <a:ext cx="5071595" cy="7388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lang="en-US" sz="18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lang="en-US" sz="14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>
                <a:ea typeface="Source Code Pro" panose="020B0509030403020204" pitchFamily="49" charset="0"/>
                <a:cs typeface="Arial" panose="020B0604020202020204" pitchFamily="34" charset="0"/>
              </a:rPr>
              <a:t>GemFire keeps the data balanced and safe all </a:t>
            </a:r>
            <a:r>
              <a:rPr lang="en-US" i="1">
                <a:ea typeface="Source Code Pro" panose="020B0509030403020204" pitchFamily="49" charset="0"/>
                <a:cs typeface="Arial" panose="020B0604020202020204" pitchFamily="34" charset="0"/>
              </a:rPr>
              <a:t>automatically and dynamically</a:t>
            </a:r>
            <a:r>
              <a:rPr lang="en-US">
                <a:ea typeface="Source Code Pro" panose="020B0509030403020204" pitchFamily="49" charset="0"/>
                <a:cs typeface="Arial" panose="020B0604020202020204" pitchFamily="34" charset="0"/>
              </a:rPr>
              <a:t>!!!</a:t>
            </a:r>
          </a:p>
        </p:txBody>
      </p:sp>
    </p:spTree>
    <p:extLst>
      <p:ext uri="{BB962C8B-B14F-4D97-AF65-F5344CB8AC3E}">
        <p14:creationId xmlns:p14="http://schemas.microsoft.com/office/powerpoint/2010/main" val="346312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8A0D8A7-5EE2-A501-782B-4250C65C4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mFire Redundancy Sounds Complicated – It’s Not!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83CC10A-7AC7-6D1B-E4D5-30839F36AA5C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How to Make Partition Reg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BC37F6-636F-863D-130F-0EC9D7CC2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Create The Reg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897D33-D783-2FDF-895A-F064698708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9808" y="2621020"/>
            <a:ext cx="5071595" cy="1244103"/>
          </a:xfrm>
        </p:spPr>
        <p:txBody>
          <a:bodyPr/>
          <a:lstStyle/>
          <a:p>
            <a:r>
              <a:rPr lang="en-US" err="1">
                <a:latin typeface="Source Code Pro" panose="020B0509030403020204" pitchFamily="49" charset="0"/>
                <a:ea typeface="Source Code Pro" panose="020B0509030403020204" pitchFamily="49" charset="0"/>
              </a:rPr>
              <a:t>gfsh</a:t>
            </a:r>
            <a:r>
              <a:rPr lang="en-US">
                <a:latin typeface="Source Code Pro" panose="020B0509030403020204" pitchFamily="49" charset="0"/>
                <a:ea typeface="Source Code Pro" panose="020B0509030403020204" pitchFamily="49" charset="0"/>
              </a:rPr>
              <a:t>&gt;create region --name=Customers </a:t>
            </a:r>
          </a:p>
          <a:p>
            <a:r>
              <a:rPr lang="en-US">
                <a:highlight>
                  <a:srgbClr val="FFFF00"/>
                </a:highlight>
                <a:latin typeface="Source Code Pro" panose="020B0509030403020204" pitchFamily="49" charset="0"/>
                <a:ea typeface="Source Code Pro" panose="020B0509030403020204" pitchFamily="49" charset="0"/>
              </a:rPr>
              <a:t>--type=PARTITION</a:t>
            </a:r>
            <a:r>
              <a:rPr lang="en-US">
                <a:latin typeface="Source Code Pro" panose="020B0509030403020204" pitchFamily="49" charset="0"/>
                <a:ea typeface="Source Code Pro" panose="020B0509030403020204" pitchFamily="49" charset="0"/>
              </a:rPr>
              <a:t> --redundant-copies=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443386-E3F0-B608-2FF9-7C79747BD6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Application</a:t>
            </a:r>
          </a:p>
        </p:txBody>
      </p:sp>
      <p:pic>
        <p:nvPicPr>
          <p:cNvPr id="84" name="Content Placeholder 83">
            <a:extLst>
              <a:ext uri="{FF2B5EF4-FFF2-40B4-BE49-F238E27FC236}">
                <a16:creationId xmlns:a16="http://schemas.microsoft.com/office/drawing/2014/main" id="{00C48F39-D344-B80A-D3B7-49783D9F1E5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2"/>
          <a:stretch>
            <a:fillRect/>
          </a:stretch>
        </p:blipFill>
        <p:spPr>
          <a:xfrm>
            <a:off x="6556375" y="2897585"/>
            <a:ext cx="5052642" cy="284211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46B2B-265E-D86B-C975-910327DEF83B}"/>
              </a:ext>
            </a:extLst>
          </p:cNvPr>
          <p:cNvGrpSpPr/>
          <p:nvPr/>
        </p:nvGrpSpPr>
        <p:grpSpPr>
          <a:xfrm>
            <a:off x="460932" y="4222110"/>
            <a:ext cx="5154757" cy="829788"/>
            <a:chOff x="460932" y="4222110"/>
            <a:chExt cx="5154757" cy="829788"/>
          </a:xfrm>
        </p:grpSpPr>
        <p:sp>
          <p:nvSpPr>
            <p:cNvPr id="45" name="Rectangle 4">
              <a:extLst>
                <a:ext uri="{FF2B5EF4-FFF2-40B4-BE49-F238E27FC236}">
                  <a16:creationId xmlns:a16="http://schemas.microsoft.com/office/drawing/2014/main" id="{A4CBB60A-EA19-4EFD-28FE-9FBC5132F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932" y="4225808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17B03582-FDA6-D02C-BAD1-439A9F086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2936" y="4225809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47" name="Rectangle 4">
              <a:extLst>
                <a:ext uri="{FF2B5EF4-FFF2-40B4-BE49-F238E27FC236}">
                  <a16:creationId xmlns:a16="http://schemas.microsoft.com/office/drawing/2014/main" id="{DA1916F7-EB20-87EC-518D-CA17150B0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4940" y="4225809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57" name="Moon 56">
              <a:extLst>
                <a:ext uri="{FF2B5EF4-FFF2-40B4-BE49-F238E27FC236}">
                  <a16:creationId xmlns:a16="http://schemas.microsoft.com/office/drawing/2014/main" id="{5051E2F7-D0C7-8B8D-381E-85217FC5E599}"/>
                </a:ext>
              </a:extLst>
            </p:cNvPr>
            <p:cNvSpPr/>
            <p:nvPr/>
          </p:nvSpPr>
          <p:spPr bwMode="auto">
            <a:xfrm rot="5400000">
              <a:off x="1593289" y="4767771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Moon 57">
              <a:extLst>
                <a:ext uri="{FF2B5EF4-FFF2-40B4-BE49-F238E27FC236}">
                  <a16:creationId xmlns:a16="http://schemas.microsoft.com/office/drawing/2014/main" id="{7A7561BC-BD09-FDAF-45C0-1025DBE5C59A}"/>
                </a:ext>
              </a:extLst>
            </p:cNvPr>
            <p:cNvSpPr/>
            <p:nvPr/>
          </p:nvSpPr>
          <p:spPr bwMode="auto">
            <a:xfrm rot="16200000" flipV="1">
              <a:off x="1593289" y="4422057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0EF2F7E-7744-A013-F62B-02E01202305A}"/>
                </a:ext>
              </a:extLst>
            </p:cNvPr>
            <p:cNvSpPr/>
            <p:nvPr/>
          </p:nvSpPr>
          <p:spPr bwMode="auto">
            <a:xfrm>
              <a:off x="1570275" y="4567556"/>
              <a:ext cx="245747" cy="30749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741CAE9-73B1-D87E-980B-D46ABF477029}"/>
                </a:ext>
              </a:extLst>
            </p:cNvPr>
            <p:cNvSpPr/>
            <p:nvPr/>
          </p:nvSpPr>
          <p:spPr bwMode="auto">
            <a:xfrm>
              <a:off x="1559309" y="4435317"/>
              <a:ext cx="27438" cy="60702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AAA71F1-DA69-F96E-AB08-010A6909339C}"/>
                </a:ext>
              </a:extLst>
            </p:cNvPr>
            <p:cNvSpPr/>
            <p:nvPr/>
          </p:nvSpPr>
          <p:spPr bwMode="auto">
            <a:xfrm>
              <a:off x="1805010" y="4435317"/>
              <a:ext cx="44900" cy="607021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BB0A97-5FCF-256A-63A6-F05CF3333E81}"/>
                </a:ext>
              </a:extLst>
            </p:cNvPr>
            <p:cNvSpPr/>
            <p:nvPr/>
          </p:nvSpPr>
          <p:spPr bwMode="auto">
            <a:xfrm>
              <a:off x="1579264" y="4535692"/>
              <a:ext cx="23946" cy="382375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07924E1-EF69-ED50-F201-EA667FA23615}"/>
                </a:ext>
              </a:extLst>
            </p:cNvPr>
            <p:cNvSpPr/>
            <p:nvPr/>
          </p:nvSpPr>
          <p:spPr bwMode="auto">
            <a:xfrm>
              <a:off x="1786302" y="4519759"/>
              <a:ext cx="32428" cy="40627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Moon 49">
              <a:extLst>
                <a:ext uri="{FF2B5EF4-FFF2-40B4-BE49-F238E27FC236}">
                  <a16:creationId xmlns:a16="http://schemas.microsoft.com/office/drawing/2014/main" id="{88C7F278-333C-FACE-B756-CF432204E30A}"/>
                </a:ext>
              </a:extLst>
            </p:cNvPr>
            <p:cNvSpPr/>
            <p:nvPr/>
          </p:nvSpPr>
          <p:spPr bwMode="auto">
            <a:xfrm rot="5400000">
              <a:off x="2935294" y="4767771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Moon 50">
              <a:extLst>
                <a:ext uri="{FF2B5EF4-FFF2-40B4-BE49-F238E27FC236}">
                  <a16:creationId xmlns:a16="http://schemas.microsoft.com/office/drawing/2014/main" id="{D4EDC869-5471-3480-66DA-F24F0E1A13D2}"/>
                </a:ext>
              </a:extLst>
            </p:cNvPr>
            <p:cNvSpPr/>
            <p:nvPr/>
          </p:nvSpPr>
          <p:spPr bwMode="auto">
            <a:xfrm rot="16200000" flipV="1">
              <a:off x="2935294" y="4422057"/>
              <a:ext cx="203933" cy="252769"/>
            </a:xfrm>
            <a:prstGeom prst="moon">
              <a:avLst/>
            </a:pr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AA08756-2426-2C8A-CC05-12590BDAAF79}"/>
                </a:ext>
              </a:extLst>
            </p:cNvPr>
            <p:cNvSpPr/>
            <p:nvPr/>
          </p:nvSpPr>
          <p:spPr bwMode="auto">
            <a:xfrm>
              <a:off x="2912280" y="4567556"/>
              <a:ext cx="245747" cy="30749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5980885-E690-B540-AF69-EC9CA82F0BD0}"/>
                </a:ext>
              </a:extLst>
            </p:cNvPr>
            <p:cNvSpPr/>
            <p:nvPr/>
          </p:nvSpPr>
          <p:spPr bwMode="auto">
            <a:xfrm>
              <a:off x="2901314" y="4435317"/>
              <a:ext cx="27438" cy="60702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FF37ECB-614F-A989-FF6B-657670A70084}"/>
                </a:ext>
              </a:extLst>
            </p:cNvPr>
            <p:cNvSpPr/>
            <p:nvPr/>
          </p:nvSpPr>
          <p:spPr bwMode="auto">
            <a:xfrm>
              <a:off x="3147015" y="4435317"/>
              <a:ext cx="44900" cy="607021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82FB07-4CC5-1272-96A4-0815C7195A63}"/>
                </a:ext>
              </a:extLst>
            </p:cNvPr>
            <p:cNvSpPr/>
            <p:nvPr/>
          </p:nvSpPr>
          <p:spPr bwMode="auto">
            <a:xfrm>
              <a:off x="2921269" y="4535692"/>
              <a:ext cx="23946" cy="382375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72CAF07-CB04-6987-C11A-4FEB3726A115}"/>
                </a:ext>
              </a:extLst>
            </p:cNvPr>
            <p:cNvSpPr/>
            <p:nvPr/>
          </p:nvSpPr>
          <p:spPr bwMode="auto">
            <a:xfrm>
              <a:off x="3128307" y="4519759"/>
              <a:ext cx="32428" cy="406273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err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AutoShape 44">
              <a:extLst>
                <a:ext uri="{FF2B5EF4-FFF2-40B4-BE49-F238E27FC236}">
                  <a16:creationId xmlns:a16="http://schemas.microsoft.com/office/drawing/2014/main" id="{BCE17648-3385-682D-4AEA-808306868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45" y="4290147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00000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AutoShape 44">
              <a:extLst>
                <a:ext uri="{FF2B5EF4-FFF2-40B4-BE49-F238E27FC236}">
                  <a16:creationId xmlns:a16="http://schemas.microsoft.com/office/drawing/2014/main" id="{A4937C09-792F-3935-155A-7BA58A135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436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00000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AutoShape 44">
              <a:extLst>
                <a:ext uri="{FF2B5EF4-FFF2-40B4-BE49-F238E27FC236}">
                  <a16:creationId xmlns:a16="http://schemas.microsoft.com/office/drawing/2014/main" id="{379E9E55-C5FE-5216-1BDF-67D5BDDED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098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000000"/>
                </a:gs>
                <a:gs pos="50000">
                  <a:srgbClr val="0000FF"/>
                </a:gs>
                <a:gs pos="80000">
                  <a:srgbClr val="00000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 err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  <a:r>
                <a:rPr lang="en-US" sz="1050" b="1" baseline="-25000" err="1">
                  <a:solidFill>
                    <a:srgbClr val="FFFFFF"/>
                  </a:solidFill>
                  <a:latin typeface="Arial" panose="020B0604020202020204" pitchFamily="34" charset="0"/>
                </a:rPr>
                <a:t>R</a:t>
              </a:r>
              <a:endParaRPr lang="en-US" sz="1050" b="1" baseline="-250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Rectangle 13">
              <a:extLst>
                <a:ext uri="{FF2B5EF4-FFF2-40B4-BE49-F238E27FC236}">
                  <a16:creationId xmlns:a16="http://schemas.microsoft.com/office/drawing/2014/main" id="{880ABB28-E3E2-005D-E35A-9C9598D4F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382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Rectangle 13">
              <a:extLst>
                <a:ext uri="{FF2B5EF4-FFF2-40B4-BE49-F238E27FC236}">
                  <a16:creationId xmlns:a16="http://schemas.microsoft.com/office/drawing/2014/main" id="{3F938DF7-BB27-AFCF-576C-DAD16A1C7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726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Rectangle 13">
              <a:extLst>
                <a:ext uri="{FF2B5EF4-FFF2-40B4-BE49-F238E27FC236}">
                  <a16:creationId xmlns:a16="http://schemas.microsoft.com/office/drawing/2014/main" id="{E3E3A27F-51DC-42A6-423D-8A82233BD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0070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AutoShape 44" descr="Left:  Customers">
              <a:extLst>
                <a:ext uri="{FF2B5EF4-FFF2-40B4-BE49-F238E27FC236}">
                  <a16:creationId xmlns:a16="http://schemas.microsoft.com/office/drawing/2014/main" id="{2CA1BACA-1870-A141-4BB0-FBBD9F561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45" y="4290147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69" name="AutoShape 44">
              <a:extLst>
                <a:ext uri="{FF2B5EF4-FFF2-40B4-BE49-F238E27FC236}">
                  <a16:creationId xmlns:a16="http://schemas.microsoft.com/office/drawing/2014/main" id="{D368FF4E-7D30-CD82-2293-27BA0A19D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6098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68" name="AutoShape 44" descr="Right:  Customers">
              <a:extLst>
                <a:ext uri="{FF2B5EF4-FFF2-40B4-BE49-F238E27FC236}">
                  <a16:creationId xmlns:a16="http://schemas.microsoft.com/office/drawing/2014/main" id="{1E3F01BC-8930-BB13-0341-13EABF0F4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435" y="4284244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</a:t>
              </a:r>
            </a:p>
          </p:txBody>
        </p:sp>
        <p:sp>
          <p:nvSpPr>
            <p:cNvPr id="78" name="AutoShape 44">
              <a:extLst>
                <a:ext uri="{FF2B5EF4-FFF2-40B4-BE49-F238E27FC236}">
                  <a16:creationId xmlns:a16="http://schemas.microsoft.com/office/drawing/2014/main" id="{2CDC2971-8540-F7F9-06F3-35A01B244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4509" y="4395199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79" name="AutoShape 44" descr="Right:  Customers">
              <a:extLst>
                <a:ext uri="{FF2B5EF4-FFF2-40B4-BE49-F238E27FC236}">
                  <a16:creationId xmlns:a16="http://schemas.microsoft.com/office/drawing/2014/main" id="{D049F2D3-313C-B334-7CC8-9F9DA22BC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197" y="4411622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0" name="AutoShape 44" descr="Left:  Customers">
              <a:extLst>
                <a:ext uri="{FF2B5EF4-FFF2-40B4-BE49-F238E27FC236}">
                  <a16:creationId xmlns:a16="http://schemas.microsoft.com/office/drawing/2014/main" id="{F4C8D951-897C-52AB-A5EB-605C3B49C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202" y="4396296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3" name="AutoShape 44">
              <a:extLst>
                <a:ext uri="{FF2B5EF4-FFF2-40B4-BE49-F238E27FC236}">
                  <a16:creationId xmlns:a16="http://schemas.microsoft.com/office/drawing/2014/main" id="{E6165208-7051-045A-C6C0-86E135B63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272" y="4520367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20000">
                  <a:srgbClr val="808080"/>
                </a:gs>
                <a:gs pos="50000">
                  <a:srgbClr val="0000FF"/>
                </a:gs>
                <a:gs pos="80000">
                  <a:srgbClr val="808080"/>
                </a:gs>
              </a:gsLst>
              <a:lin ang="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3" name="Rectangle 4">
              <a:extLst>
                <a:ext uri="{FF2B5EF4-FFF2-40B4-BE49-F238E27FC236}">
                  <a16:creationId xmlns:a16="http://schemas.microsoft.com/office/drawing/2014/main" id="{59100204-669F-3E5D-5584-94D8F0406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944" y="4222110"/>
              <a:ext cx="1128745" cy="8260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E8ABF79-EFE0-A255-F152-699B5694EFB7}"/>
                </a:ext>
              </a:extLst>
            </p:cNvPr>
            <p:cNvGrpSpPr/>
            <p:nvPr/>
          </p:nvGrpSpPr>
          <p:grpSpPr>
            <a:xfrm>
              <a:off x="4251524" y="4392758"/>
              <a:ext cx="290601" cy="607021"/>
              <a:chOff x="3053714" y="4587717"/>
              <a:chExt cx="290601" cy="607021"/>
            </a:xfrm>
          </p:grpSpPr>
          <p:sp>
            <p:nvSpPr>
              <p:cNvPr id="4" name="Moon 3">
                <a:extLst>
                  <a:ext uri="{FF2B5EF4-FFF2-40B4-BE49-F238E27FC236}">
                    <a16:creationId xmlns:a16="http://schemas.microsoft.com/office/drawing/2014/main" id="{8648A036-375E-7EC4-A0A9-5E46BD240246}"/>
                  </a:ext>
                </a:extLst>
              </p:cNvPr>
              <p:cNvSpPr/>
              <p:nvPr/>
            </p:nvSpPr>
            <p:spPr bwMode="auto">
              <a:xfrm rot="5400000">
                <a:off x="3087694" y="4920171"/>
                <a:ext cx="203933" cy="252769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" name="Moon 7">
                <a:extLst>
                  <a:ext uri="{FF2B5EF4-FFF2-40B4-BE49-F238E27FC236}">
                    <a16:creationId xmlns:a16="http://schemas.microsoft.com/office/drawing/2014/main" id="{4E9A7961-B8C0-8EB7-A0D1-A55C25E9EA0B}"/>
                  </a:ext>
                </a:extLst>
              </p:cNvPr>
              <p:cNvSpPr/>
              <p:nvPr/>
            </p:nvSpPr>
            <p:spPr bwMode="auto">
              <a:xfrm rot="16200000" flipV="1">
                <a:off x="3087694" y="4574457"/>
                <a:ext cx="203933" cy="252769"/>
              </a:xfrm>
              <a:prstGeom prst="moon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28B2-68D5-0302-D674-AF5FDD28C07B}"/>
                  </a:ext>
                </a:extLst>
              </p:cNvPr>
              <p:cNvSpPr/>
              <p:nvPr/>
            </p:nvSpPr>
            <p:spPr bwMode="auto">
              <a:xfrm>
                <a:off x="3064680" y="4719956"/>
                <a:ext cx="245747" cy="30749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BDBD5C-299B-241E-062C-00A2AC8E4DE0}"/>
                  </a:ext>
                </a:extLst>
              </p:cNvPr>
              <p:cNvSpPr/>
              <p:nvPr/>
            </p:nvSpPr>
            <p:spPr bwMode="auto">
              <a:xfrm>
                <a:off x="3053714" y="4587717"/>
                <a:ext cx="27438" cy="607020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7E7E6580-3485-5D8C-9D39-A454EF6BC551}"/>
                  </a:ext>
                </a:extLst>
              </p:cNvPr>
              <p:cNvSpPr/>
              <p:nvPr/>
            </p:nvSpPr>
            <p:spPr bwMode="auto">
              <a:xfrm>
                <a:off x="3299415" y="4587717"/>
                <a:ext cx="44900" cy="6070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97225A9-8E44-10EB-A578-C87A880DC14B}"/>
                  </a:ext>
                </a:extLst>
              </p:cNvPr>
              <p:cNvSpPr/>
              <p:nvPr/>
            </p:nvSpPr>
            <p:spPr bwMode="auto">
              <a:xfrm>
                <a:off x="3073669" y="4688092"/>
                <a:ext cx="23946" cy="382375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2F9A8FF-57FB-3323-3E7E-F77B8DA123B0}"/>
                  </a:ext>
                </a:extLst>
              </p:cNvPr>
              <p:cNvSpPr/>
              <p:nvPr/>
            </p:nvSpPr>
            <p:spPr bwMode="auto">
              <a:xfrm>
                <a:off x="3280707" y="4672159"/>
                <a:ext cx="32428" cy="40627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err="1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248441B2-A8F5-8F1C-9A2E-8C39560147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7309" y="4222110"/>
              <a:ext cx="1123615" cy="38464"/>
            </a:xfrm>
            <a:prstGeom prst="rect">
              <a:avLst/>
            </a:prstGeom>
            <a:solidFill>
              <a:srgbClr val="33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endParaRPr lang="en-US" sz="1200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AutoShape 44" descr="Right:  Customers">
              <a:extLst>
                <a:ext uri="{FF2B5EF4-FFF2-40B4-BE49-F238E27FC236}">
                  <a16:creationId xmlns:a16="http://schemas.microsoft.com/office/drawing/2014/main" id="{45C509E7-F77D-B2C4-A77D-37DD3602F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103" y="4295101"/>
              <a:ext cx="1027067" cy="11095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100000">
                  <a:srgbClr val="808080"/>
                </a:gs>
                <a:gs pos="0">
                  <a:srgbClr val="0000FF"/>
                </a:gs>
              </a:gsLst>
              <a:lin ang="10800000" scaled="1"/>
              <a:tileRect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  <p:sp>
          <p:nvSpPr>
            <p:cNvPr id="81" name="AutoShape 44" descr="Left:  Customers">
              <a:extLst>
                <a:ext uri="{FF2B5EF4-FFF2-40B4-BE49-F238E27FC236}">
                  <a16:creationId xmlns:a16="http://schemas.microsoft.com/office/drawing/2014/main" id="{521A0D4F-E83D-827D-487F-04467C816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3638" y="4401102"/>
              <a:ext cx="1027067" cy="110955"/>
            </a:xfrm>
            <a:prstGeom prst="roundRect">
              <a:avLst>
                <a:gd name="adj" fmla="val 16667"/>
              </a:avLst>
            </a:prstGeom>
            <a:gradFill>
              <a:gsLst>
                <a:gs pos="100000">
                  <a:srgbClr val="0000FF"/>
                </a:gs>
                <a:gs pos="0">
                  <a:srgbClr val="808080"/>
                </a:gs>
              </a:gsLst>
              <a:lin ang="1080000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171450" indent="-171450" algn="ctr">
                <a:tabLst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</a:pPr>
              <a:r>
                <a:rPr lang="en-US" sz="1050" b="1">
                  <a:solidFill>
                    <a:srgbClr val="FFFFFF"/>
                  </a:solidFill>
                  <a:latin typeface="Arial" panose="020B0604020202020204" pitchFamily="34" charset="0"/>
                </a:rPr>
                <a:t>Customers’</a:t>
              </a:r>
            </a:p>
          </p:txBody>
        </p:sp>
      </p:grp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AB128D46-AA3A-1594-EE20-4942F2B641FE}"/>
              </a:ext>
            </a:extLst>
          </p:cNvPr>
          <p:cNvSpPr txBox="1">
            <a:spLocks/>
          </p:cNvSpPr>
          <p:nvPr/>
        </p:nvSpPr>
        <p:spPr bwMode="gray">
          <a:xfrm>
            <a:off x="579241" y="5405186"/>
            <a:ext cx="5071595" cy="7388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lang="en-US" sz="18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lang="en-US" sz="14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lang="en-US" sz="120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>
                <a:ea typeface="Source Code Pro" panose="020B0509030403020204" pitchFamily="49" charset="0"/>
                <a:cs typeface="Arial" panose="020B0604020202020204" pitchFamily="34" charset="0"/>
              </a:rPr>
              <a:t>GemFire keeps the data balanced and safe all </a:t>
            </a:r>
            <a:r>
              <a:rPr lang="en-US" i="1">
                <a:ea typeface="Source Code Pro" panose="020B0509030403020204" pitchFamily="49" charset="0"/>
                <a:cs typeface="Arial" panose="020B0604020202020204" pitchFamily="34" charset="0"/>
              </a:rPr>
              <a:t>automatically and dynamically</a:t>
            </a:r>
            <a:r>
              <a:rPr lang="en-US">
                <a:ea typeface="Source Code Pro" panose="020B0509030403020204" pitchFamily="49" charset="0"/>
                <a:cs typeface="Arial" panose="020B0604020202020204" pitchFamily="34" charset="0"/>
              </a:rPr>
              <a:t>!!!</a:t>
            </a:r>
          </a:p>
        </p:txBody>
      </p:sp>
      <p:pic>
        <p:nvPicPr>
          <p:cNvPr id="19" name="Picture 18" descr="A cartoon fire with a black background&#10;&#10;Description automatically generated">
            <a:extLst>
              <a:ext uri="{FF2B5EF4-FFF2-40B4-BE49-F238E27FC236}">
                <a16:creationId xmlns:a16="http://schemas.microsoft.com/office/drawing/2014/main" id="{B4CF47AC-38EA-B9F5-FCAA-926AC79EB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2478" y="3601235"/>
            <a:ext cx="1599419" cy="1599419"/>
          </a:xfrm>
          <a:prstGeom prst="rect">
            <a:avLst/>
          </a:prstGeom>
        </p:spPr>
      </p:pic>
      <p:sp>
        <p:nvSpPr>
          <p:cNvPr id="21" name="AutoShape 44" descr="Left:  Customers">
            <a:extLst>
              <a:ext uri="{FF2B5EF4-FFF2-40B4-BE49-F238E27FC236}">
                <a16:creationId xmlns:a16="http://schemas.microsoft.com/office/drawing/2014/main" id="{AED56F74-E5C2-1169-F185-DCD367FE8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4438" y="4512986"/>
            <a:ext cx="1027067" cy="110955"/>
          </a:xfrm>
          <a:prstGeom prst="roundRect">
            <a:avLst>
              <a:gd name="adj" fmla="val 16667"/>
            </a:avLst>
          </a:prstGeom>
          <a:gradFill>
            <a:gsLst>
              <a:gs pos="100000">
                <a:srgbClr val="0000FF"/>
              </a:gs>
              <a:gs pos="0">
                <a:srgbClr val="808080"/>
              </a:gs>
            </a:gsLst>
            <a:lin ang="10800000" scaled="1"/>
          </a:gra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1450" indent="-171450" algn="ctr">
              <a:tabLst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Customers’</a:t>
            </a:r>
          </a:p>
        </p:txBody>
      </p:sp>
      <p:sp>
        <p:nvSpPr>
          <p:cNvPr id="24" name="AutoShape 44" descr="Right:  Customers">
            <a:extLst>
              <a:ext uri="{FF2B5EF4-FFF2-40B4-BE49-F238E27FC236}">
                <a16:creationId xmlns:a16="http://schemas.microsoft.com/office/drawing/2014/main" id="{0A461524-A5B8-486A-6E89-193A7D3ED2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1935" y="4512310"/>
            <a:ext cx="1027067" cy="11095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100000">
                <a:srgbClr val="808080"/>
              </a:gs>
              <a:gs pos="0">
                <a:srgbClr val="0000FF"/>
              </a:gs>
            </a:gsLst>
            <a:lin ang="10800000" scaled="1"/>
            <a:tileRect/>
          </a:gra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1450" indent="-171450" algn="ctr">
              <a:tabLst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050" b="1">
                <a:solidFill>
                  <a:srgbClr val="FFFFFF"/>
                </a:solidFill>
                <a:latin typeface="Arial" panose="020B0604020202020204" pitchFamily="34" charset="0"/>
              </a:rPr>
              <a:t>Customers’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44693A4-92AE-96FA-7307-6C3B2B074669}"/>
              </a:ext>
            </a:extLst>
          </p:cNvPr>
          <p:cNvCxnSpPr>
            <a:endCxn id="24" idx="3"/>
          </p:cNvCxnSpPr>
          <p:nvPr/>
        </p:nvCxnSpPr>
        <p:spPr bwMode="gray">
          <a:xfrm flipH="1">
            <a:off x="2909002" y="4313584"/>
            <a:ext cx="1613280" cy="254204"/>
          </a:xfrm>
          <a:prstGeom prst="straightConnector1">
            <a:avLst/>
          </a:prstGeom>
          <a:ln w="57150">
            <a:solidFill>
              <a:srgbClr val="C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6D4D022-9DD8-360A-672E-D8D2EC20D14F}"/>
              </a:ext>
            </a:extLst>
          </p:cNvPr>
          <p:cNvCxnSpPr>
            <a:cxnSpLocks/>
            <a:stCxn id="81" idx="1"/>
          </p:cNvCxnSpPr>
          <p:nvPr/>
        </p:nvCxnSpPr>
        <p:spPr bwMode="gray">
          <a:xfrm flipH="1">
            <a:off x="4100508" y="4456580"/>
            <a:ext cx="443130" cy="192823"/>
          </a:xfrm>
          <a:prstGeom prst="straightConnector1">
            <a:avLst/>
          </a:prstGeom>
          <a:ln w="57150">
            <a:solidFill>
              <a:srgbClr val="C0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796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75" descr="cpu.png">
            <a:extLst>
              <a:ext uri="{FF2B5EF4-FFF2-40B4-BE49-F238E27FC236}">
                <a16:creationId xmlns:a16="http://schemas.microsoft.com/office/drawing/2014/main" id="{8074D693-AF7D-DA3D-11D6-8376660CA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750" y="1891229"/>
            <a:ext cx="503127" cy="503127"/>
          </a:xfrm>
          <a:prstGeom prst="rect">
            <a:avLst/>
          </a:prstGeom>
        </p:spPr>
      </p:pic>
      <p:pic>
        <p:nvPicPr>
          <p:cNvPr id="77" name="Picture 76" descr="cpu.png">
            <a:extLst>
              <a:ext uri="{FF2B5EF4-FFF2-40B4-BE49-F238E27FC236}">
                <a16:creationId xmlns:a16="http://schemas.microsoft.com/office/drawing/2014/main" id="{839163C5-471C-2569-B494-CB3399EB21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995" y="1891229"/>
            <a:ext cx="503127" cy="503127"/>
          </a:xfrm>
          <a:prstGeom prst="rect">
            <a:avLst/>
          </a:prstGeom>
        </p:spPr>
      </p:pic>
      <p:pic>
        <p:nvPicPr>
          <p:cNvPr id="78" name="Picture 77" descr="cpu.png">
            <a:extLst>
              <a:ext uri="{FF2B5EF4-FFF2-40B4-BE49-F238E27FC236}">
                <a16:creationId xmlns:a16="http://schemas.microsoft.com/office/drawing/2014/main" id="{C31FEDA5-5DB7-4AE5-9886-383FC4D854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262" y="1896844"/>
            <a:ext cx="503127" cy="503127"/>
          </a:xfrm>
          <a:prstGeom prst="rect">
            <a:avLst/>
          </a:prstGeom>
        </p:spPr>
      </p:pic>
      <p:pic>
        <p:nvPicPr>
          <p:cNvPr id="75" name="Picture 74" descr="cpu.png">
            <a:extLst>
              <a:ext uri="{FF2B5EF4-FFF2-40B4-BE49-F238E27FC236}">
                <a16:creationId xmlns:a16="http://schemas.microsoft.com/office/drawing/2014/main" id="{7C856EC3-5FC5-3653-0C27-346F0C4CA4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1199" y="1869875"/>
            <a:ext cx="503127" cy="503127"/>
          </a:xfrm>
          <a:prstGeom prst="rect">
            <a:avLst/>
          </a:prstGeom>
        </p:spPr>
      </p:pic>
      <p:pic>
        <p:nvPicPr>
          <p:cNvPr id="74" name="Picture 73" descr="cpu.png">
            <a:extLst>
              <a:ext uri="{FF2B5EF4-FFF2-40B4-BE49-F238E27FC236}">
                <a16:creationId xmlns:a16="http://schemas.microsoft.com/office/drawing/2014/main" id="{F5910536-49E9-9FE7-71EE-C176AC5F1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69" y="1869983"/>
            <a:ext cx="503127" cy="503127"/>
          </a:xfrm>
          <a:prstGeom prst="rect">
            <a:avLst/>
          </a:prstGeom>
        </p:spPr>
      </p:pic>
      <p:pic>
        <p:nvPicPr>
          <p:cNvPr id="4" name="Picture 3" descr="cpu.png">
            <a:extLst>
              <a:ext uri="{FF2B5EF4-FFF2-40B4-BE49-F238E27FC236}">
                <a16:creationId xmlns:a16="http://schemas.microsoft.com/office/drawing/2014/main" id="{7D5A3DFB-AEAD-805E-8B5A-2AC0FE2FE7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39" y="1860908"/>
            <a:ext cx="503127" cy="50312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frastructure Redundancy</a:t>
            </a:r>
          </a:p>
        </p:txBody>
      </p:sp>
      <p:sp>
        <p:nvSpPr>
          <p:cNvPr id="79" name="Subtitle 78">
            <a:extLst>
              <a:ext uri="{FF2B5EF4-FFF2-40B4-BE49-F238E27FC236}">
                <a16:creationId xmlns:a16="http://schemas.microsoft.com/office/drawing/2014/main" id="{EBB4524F-67A3-14A8-14FD-87B100A8FC4A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Geographically Distribute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82542" y="5364225"/>
            <a:ext cx="2353529" cy="46153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wrap="none" rtlCol="0">
            <a:spAutoFit/>
          </a:bodyPr>
          <a:lstStyle/>
          <a:p>
            <a:r>
              <a:rPr lang="en-US" sz="2399">
                <a:latin typeface="Arial" panose="020B0604020202020204" pitchFamily="34" charset="0"/>
              </a:rPr>
              <a:t>Serial Gatewa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130181" y="5364226"/>
            <a:ext cx="2513830" cy="461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399">
                <a:latin typeface="Arial" panose="020B0604020202020204" pitchFamily="34" charset="0"/>
              </a:rPr>
              <a:t>Parallel Gatewa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27833" y="1773605"/>
            <a:ext cx="4305112" cy="1374662"/>
            <a:chOff x="2486586" y="2345748"/>
            <a:chExt cx="4703608" cy="1186144"/>
          </a:xfrm>
        </p:grpSpPr>
        <p:pic>
          <p:nvPicPr>
            <p:cNvPr id="9" name="Picture 8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7380" y="3040878"/>
              <a:ext cx="491014" cy="491014"/>
            </a:xfrm>
            <a:prstGeom prst="rect">
              <a:avLst/>
            </a:prstGeom>
          </p:spPr>
        </p:pic>
        <p:pic>
          <p:nvPicPr>
            <p:cNvPr id="10" name="Picture 9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3474" y="3036115"/>
              <a:ext cx="491014" cy="491014"/>
            </a:xfrm>
            <a:prstGeom prst="rect">
              <a:avLst/>
            </a:prstGeom>
          </p:spPr>
        </p:pic>
        <p:pic>
          <p:nvPicPr>
            <p:cNvPr id="11" name="Picture 10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2906" y="3040878"/>
              <a:ext cx="491014" cy="491014"/>
            </a:xfrm>
            <a:prstGeom prst="rect">
              <a:avLst/>
            </a:prstGeom>
          </p:spPr>
        </p:pic>
        <p:pic>
          <p:nvPicPr>
            <p:cNvPr id="12" name="Picture 11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0519" y="2345748"/>
              <a:ext cx="585201" cy="585201"/>
            </a:xfrm>
            <a:prstGeom prst="rect">
              <a:avLst/>
            </a:prstGeom>
          </p:spPr>
        </p:pic>
        <p:pic>
          <p:nvPicPr>
            <p:cNvPr id="13" name="Picture 12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1087" y="2345748"/>
              <a:ext cx="585201" cy="585201"/>
            </a:xfrm>
            <a:prstGeom prst="rect">
              <a:avLst/>
            </a:prstGeom>
          </p:spPr>
        </p:pic>
        <p:pic>
          <p:nvPicPr>
            <p:cNvPr id="14" name="Picture 13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4993" y="2345748"/>
              <a:ext cx="585201" cy="585201"/>
            </a:xfrm>
            <a:prstGeom prst="rect">
              <a:avLst/>
            </a:prstGeom>
          </p:spPr>
        </p:pic>
        <p:grpSp>
          <p:nvGrpSpPr>
            <p:cNvPr id="15" name="Group 14"/>
            <p:cNvGrpSpPr>
              <a:grpSpLocks/>
            </p:cNvGrpSpPr>
            <p:nvPr/>
          </p:nvGrpSpPr>
          <p:grpSpPr bwMode="auto">
            <a:xfrm>
              <a:off x="2486586" y="2532593"/>
              <a:ext cx="4395788" cy="789384"/>
              <a:chOff x="1414" y="1727"/>
              <a:chExt cx="2670" cy="663"/>
            </a:xfrm>
          </p:grpSpPr>
          <p:grpSp>
            <p:nvGrpSpPr>
              <p:cNvPr id="16" name="Group 15"/>
              <p:cNvGrpSpPr>
                <a:grpSpLocks/>
              </p:cNvGrpSpPr>
              <p:nvPr/>
            </p:nvGrpSpPr>
            <p:grpSpPr bwMode="auto">
              <a:xfrm>
                <a:off x="1632" y="1727"/>
                <a:ext cx="1156" cy="663"/>
                <a:chOff x="1632" y="1727"/>
                <a:chExt cx="1156" cy="663"/>
              </a:xfrm>
            </p:grpSpPr>
            <p:sp>
              <p:nvSpPr>
                <p:cNvPr id="68" name="AutoShape 16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69" name="AutoShape 17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0" name="Rectangle 18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1" name="Line 19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17" name="Rectangle 20"/>
              <p:cNvSpPr>
                <a:spLocks noChangeArrowheads="1"/>
              </p:cNvSpPr>
              <p:nvPr/>
            </p:nvSpPr>
            <p:spPr bwMode="auto">
              <a:xfrm>
                <a:off x="1414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8" name="AutoShape 21"/>
              <p:cNvSpPr>
                <a:spLocks noChangeArrowheads="1"/>
              </p:cNvSpPr>
              <p:nvPr/>
            </p:nvSpPr>
            <p:spPr bwMode="auto">
              <a:xfrm>
                <a:off x="1458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9" name="AutoShape 22"/>
              <p:cNvSpPr>
                <a:spLocks noChangeArrowheads="1"/>
              </p:cNvSpPr>
              <p:nvPr/>
            </p:nvSpPr>
            <p:spPr bwMode="auto">
              <a:xfrm>
                <a:off x="1458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0" name="AutoShape 23"/>
              <p:cNvSpPr>
                <a:spLocks noChangeArrowheads="1"/>
              </p:cNvSpPr>
              <p:nvPr/>
            </p:nvSpPr>
            <p:spPr bwMode="auto">
              <a:xfrm>
                <a:off x="1458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1" name="AutoShape 24"/>
              <p:cNvSpPr>
                <a:spLocks noChangeArrowheads="1"/>
              </p:cNvSpPr>
              <p:nvPr/>
            </p:nvSpPr>
            <p:spPr bwMode="auto">
              <a:xfrm>
                <a:off x="1458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" name="AutoShape 25"/>
              <p:cNvSpPr>
                <a:spLocks noChangeArrowheads="1"/>
              </p:cNvSpPr>
              <p:nvPr/>
            </p:nvSpPr>
            <p:spPr bwMode="auto">
              <a:xfrm>
                <a:off x="1458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00FF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3" name="AutoShape 26"/>
              <p:cNvSpPr>
                <a:spLocks noChangeArrowheads="1"/>
              </p:cNvSpPr>
              <p:nvPr/>
            </p:nvSpPr>
            <p:spPr bwMode="auto">
              <a:xfrm>
                <a:off x="1700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4" name="AutoShape 27"/>
              <p:cNvSpPr>
                <a:spLocks noChangeArrowheads="1"/>
              </p:cNvSpPr>
              <p:nvPr/>
            </p:nvSpPr>
            <p:spPr bwMode="auto">
              <a:xfrm>
                <a:off x="1700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5" name="Rectangle 28"/>
              <p:cNvSpPr>
                <a:spLocks noChangeArrowheads="1"/>
              </p:cNvSpPr>
              <p:nvPr/>
            </p:nvSpPr>
            <p:spPr bwMode="auto">
              <a:xfrm>
                <a:off x="1436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6" name="Line 29"/>
              <p:cNvSpPr>
                <a:spLocks noChangeShapeType="1"/>
              </p:cNvSpPr>
              <p:nvPr/>
            </p:nvSpPr>
            <p:spPr bwMode="auto">
              <a:xfrm>
                <a:off x="1418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7" name="Line 30"/>
              <p:cNvSpPr>
                <a:spLocks noChangeShapeType="1"/>
              </p:cNvSpPr>
              <p:nvPr/>
            </p:nvSpPr>
            <p:spPr bwMode="auto">
              <a:xfrm>
                <a:off x="1418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8" name="Line 31"/>
              <p:cNvSpPr>
                <a:spLocks noChangeShapeType="1"/>
              </p:cNvSpPr>
              <p:nvPr/>
            </p:nvSpPr>
            <p:spPr bwMode="auto">
              <a:xfrm>
                <a:off x="1416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9" name="Line 32"/>
              <p:cNvSpPr>
                <a:spLocks noChangeShapeType="1"/>
              </p:cNvSpPr>
              <p:nvPr/>
            </p:nvSpPr>
            <p:spPr bwMode="auto">
              <a:xfrm>
                <a:off x="196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grpSp>
            <p:nvGrpSpPr>
              <p:cNvPr id="30" name="Group 33"/>
              <p:cNvGrpSpPr>
                <a:grpSpLocks/>
              </p:cNvGrpSpPr>
              <p:nvPr/>
            </p:nvGrpSpPr>
            <p:grpSpPr bwMode="auto">
              <a:xfrm>
                <a:off x="2672" y="1727"/>
                <a:ext cx="1156" cy="663"/>
                <a:chOff x="1632" y="1727"/>
                <a:chExt cx="1156" cy="663"/>
              </a:xfrm>
            </p:grpSpPr>
            <p:sp>
              <p:nvSpPr>
                <p:cNvPr id="64" name="AutoShape 34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65" name="AutoShape 35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6" name="Rectangle 36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7" name="Line 37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31" name="Rectangle 38"/>
              <p:cNvSpPr>
                <a:spLocks noChangeArrowheads="1"/>
              </p:cNvSpPr>
              <p:nvPr/>
            </p:nvSpPr>
            <p:spPr bwMode="auto">
              <a:xfrm>
                <a:off x="245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32" name="Rectangle 39"/>
              <p:cNvSpPr>
                <a:spLocks noChangeArrowheads="1"/>
              </p:cNvSpPr>
              <p:nvPr/>
            </p:nvSpPr>
            <p:spPr bwMode="auto">
              <a:xfrm>
                <a:off x="248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33" name="Rectangle 40"/>
              <p:cNvSpPr>
                <a:spLocks noChangeArrowheads="1"/>
              </p:cNvSpPr>
              <p:nvPr/>
            </p:nvSpPr>
            <p:spPr bwMode="auto">
              <a:xfrm>
                <a:off x="245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34" name="AutoShape 41"/>
              <p:cNvSpPr>
                <a:spLocks noChangeArrowheads="1"/>
              </p:cNvSpPr>
              <p:nvPr/>
            </p:nvSpPr>
            <p:spPr bwMode="auto">
              <a:xfrm>
                <a:off x="249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5" name="AutoShape 42"/>
              <p:cNvSpPr>
                <a:spLocks noChangeArrowheads="1"/>
              </p:cNvSpPr>
              <p:nvPr/>
            </p:nvSpPr>
            <p:spPr bwMode="auto">
              <a:xfrm>
                <a:off x="249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6" name="AutoShape 43"/>
              <p:cNvSpPr>
                <a:spLocks noChangeArrowheads="1"/>
              </p:cNvSpPr>
              <p:nvPr/>
            </p:nvSpPr>
            <p:spPr bwMode="auto">
              <a:xfrm>
                <a:off x="249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7" name="AutoShape 44"/>
              <p:cNvSpPr>
                <a:spLocks noChangeArrowheads="1"/>
              </p:cNvSpPr>
              <p:nvPr/>
            </p:nvSpPr>
            <p:spPr bwMode="auto">
              <a:xfrm>
                <a:off x="249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8" name="AutoShape 45"/>
              <p:cNvSpPr>
                <a:spLocks noChangeArrowheads="1"/>
              </p:cNvSpPr>
              <p:nvPr/>
            </p:nvSpPr>
            <p:spPr bwMode="auto">
              <a:xfrm>
                <a:off x="249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9" name="AutoShape 46"/>
              <p:cNvSpPr>
                <a:spLocks noChangeArrowheads="1"/>
              </p:cNvSpPr>
              <p:nvPr/>
            </p:nvSpPr>
            <p:spPr bwMode="auto">
              <a:xfrm>
                <a:off x="273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0" name="AutoShape 47"/>
              <p:cNvSpPr>
                <a:spLocks noChangeArrowheads="1"/>
              </p:cNvSpPr>
              <p:nvPr/>
            </p:nvSpPr>
            <p:spPr bwMode="auto">
              <a:xfrm>
                <a:off x="273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1" name="Rectangle 48"/>
              <p:cNvSpPr>
                <a:spLocks noChangeArrowheads="1"/>
              </p:cNvSpPr>
              <p:nvPr/>
            </p:nvSpPr>
            <p:spPr bwMode="auto">
              <a:xfrm>
                <a:off x="247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2" name="Line 49"/>
              <p:cNvSpPr>
                <a:spLocks noChangeShapeType="1"/>
              </p:cNvSpPr>
              <p:nvPr/>
            </p:nvSpPr>
            <p:spPr bwMode="auto">
              <a:xfrm>
                <a:off x="245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3" name="Line 50"/>
              <p:cNvSpPr>
                <a:spLocks noChangeShapeType="1"/>
              </p:cNvSpPr>
              <p:nvPr/>
            </p:nvSpPr>
            <p:spPr bwMode="auto">
              <a:xfrm>
                <a:off x="245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4" name="Line 51"/>
              <p:cNvSpPr>
                <a:spLocks noChangeShapeType="1"/>
              </p:cNvSpPr>
              <p:nvPr/>
            </p:nvSpPr>
            <p:spPr bwMode="auto">
              <a:xfrm>
                <a:off x="245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5" name="Line 52"/>
              <p:cNvSpPr>
                <a:spLocks noChangeShapeType="1"/>
              </p:cNvSpPr>
              <p:nvPr/>
            </p:nvSpPr>
            <p:spPr bwMode="auto">
              <a:xfrm>
                <a:off x="245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6" name="Line 53"/>
              <p:cNvSpPr>
                <a:spLocks noChangeShapeType="1"/>
              </p:cNvSpPr>
              <p:nvPr/>
            </p:nvSpPr>
            <p:spPr bwMode="auto">
              <a:xfrm>
                <a:off x="300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7" name="Rectangle 54"/>
              <p:cNvSpPr>
                <a:spLocks noChangeArrowheads="1"/>
              </p:cNvSpPr>
              <p:nvPr/>
            </p:nvSpPr>
            <p:spPr bwMode="auto">
              <a:xfrm>
                <a:off x="349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8" name="Rectangle 55"/>
              <p:cNvSpPr>
                <a:spLocks noChangeArrowheads="1"/>
              </p:cNvSpPr>
              <p:nvPr/>
            </p:nvSpPr>
            <p:spPr bwMode="auto">
              <a:xfrm>
                <a:off x="352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49" name="Rectangle 56"/>
              <p:cNvSpPr>
                <a:spLocks noChangeArrowheads="1"/>
              </p:cNvSpPr>
              <p:nvPr/>
            </p:nvSpPr>
            <p:spPr bwMode="auto">
              <a:xfrm>
                <a:off x="349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50" name="AutoShape 57"/>
              <p:cNvSpPr>
                <a:spLocks noChangeArrowheads="1"/>
              </p:cNvSpPr>
              <p:nvPr/>
            </p:nvSpPr>
            <p:spPr bwMode="auto">
              <a:xfrm>
                <a:off x="353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1" name="AutoShape 58"/>
              <p:cNvSpPr>
                <a:spLocks noChangeArrowheads="1"/>
              </p:cNvSpPr>
              <p:nvPr/>
            </p:nvSpPr>
            <p:spPr bwMode="auto">
              <a:xfrm>
                <a:off x="353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2" name="AutoShape 59"/>
              <p:cNvSpPr>
                <a:spLocks noChangeArrowheads="1"/>
              </p:cNvSpPr>
              <p:nvPr/>
            </p:nvSpPr>
            <p:spPr bwMode="auto">
              <a:xfrm>
                <a:off x="353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66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3" name="AutoShape 60"/>
              <p:cNvSpPr>
                <a:spLocks noChangeArrowheads="1"/>
              </p:cNvSpPr>
              <p:nvPr/>
            </p:nvSpPr>
            <p:spPr bwMode="auto">
              <a:xfrm>
                <a:off x="353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00FF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4" name="AutoShape 61"/>
              <p:cNvSpPr>
                <a:spLocks noChangeArrowheads="1"/>
              </p:cNvSpPr>
              <p:nvPr/>
            </p:nvSpPr>
            <p:spPr bwMode="auto">
              <a:xfrm>
                <a:off x="353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5" name="AutoShape 62"/>
              <p:cNvSpPr>
                <a:spLocks noChangeArrowheads="1"/>
              </p:cNvSpPr>
              <p:nvPr/>
            </p:nvSpPr>
            <p:spPr bwMode="auto">
              <a:xfrm>
                <a:off x="377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6" name="AutoShape 63"/>
              <p:cNvSpPr>
                <a:spLocks noChangeArrowheads="1"/>
              </p:cNvSpPr>
              <p:nvPr/>
            </p:nvSpPr>
            <p:spPr bwMode="auto">
              <a:xfrm>
                <a:off x="377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7" name="Rectangle 64"/>
              <p:cNvSpPr>
                <a:spLocks noChangeArrowheads="1"/>
              </p:cNvSpPr>
              <p:nvPr/>
            </p:nvSpPr>
            <p:spPr bwMode="auto">
              <a:xfrm>
                <a:off x="351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58" name="Line 65"/>
              <p:cNvSpPr>
                <a:spLocks noChangeShapeType="1"/>
              </p:cNvSpPr>
              <p:nvPr/>
            </p:nvSpPr>
            <p:spPr bwMode="auto">
              <a:xfrm>
                <a:off x="349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59" name="Line 66"/>
              <p:cNvSpPr>
                <a:spLocks noChangeShapeType="1"/>
              </p:cNvSpPr>
              <p:nvPr/>
            </p:nvSpPr>
            <p:spPr bwMode="auto">
              <a:xfrm>
                <a:off x="349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0" name="Line 67"/>
              <p:cNvSpPr>
                <a:spLocks noChangeShapeType="1"/>
              </p:cNvSpPr>
              <p:nvPr/>
            </p:nvSpPr>
            <p:spPr bwMode="auto">
              <a:xfrm>
                <a:off x="349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1" name="Line 68"/>
              <p:cNvSpPr>
                <a:spLocks noChangeShapeType="1"/>
              </p:cNvSpPr>
              <p:nvPr/>
            </p:nvSpPr>
            <p:spPr bwMode="auto">
              <a:xfrm>
                <a:off x="349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2" name="Line 69"/>
              <p:cNvSpPr>
                <a:spLocks noChangeShapeType="1"/>
              </p:cNvSpPr>
              <p:nvPr/>
            </p:nvSpPr>
            <p:spPr bwMode="auto">
              <a:xfrm>
                <a:off x="4044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3" name="Rectangle 70"/>
              <p:cNvSpPr>
                <a:spLocks noChangeArrowheads="1"/>
              </p:cNvSpPr>
              <p:nvPr/>
            </p:nvSpPr>
            <p:spPr bwMode="auto">
              <a:xfrm rot="-5400000">
                <a:off x="3890" y="2078"/>
                <a:ext cx="352" cy="36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2" name="Rounded Rectangle 1"/>
          <p:cNvSpPr/>
          <p:nvPr/>
        </p:nvSpPr>
        <p:spPr>
          <a:xfrm>
            <a:off x="4151227" y="3157600"/>
            <a:ext cx="761302" cy="22086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33">
                <a:latin typeface="Arial" panose="020B0604020202020204" pitchFamily="34" charset="0"/>
              </a:rPr>
              <a:t>Serial Gateway Sender</a:t>
            </a:r>
          </a:p>
        </p:txBody>
      </p:sp>
      <p:cxnSp>
        <p:nvCxnSpPr>
          <p:cNvPr id="73" name="Straight Arrow Connector 72"/>
          <p:cNvCxnSpPr>
            <a:stCxn id="48" idx="2"/>
            <a:endCxn id="2" idx="0"/>
          </p:cNvCxnSpPr>
          <p:nvPr/>
        </p:nvCxnSpPr>
        <p:spPr>
          <a:xfrm>
            <a:off x="4524757" y="2747685"/>
            <a:ext cx="7121" cy="40991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25" idx="2"/>
            <a:endCxn id="2" idx="0"/>
          </p:cNvCxnSpPr>
          <p:nvPr/>
        </p:nvCxnSpPr>
        <p:spPr>
          <a:xfrm rot="16200000" flipH="1">
            <a:off x="2753190" y="1378913"/>
            <a:ext cx="409915" cy="3147460"/>
          </a:xfrm>
          <a:prstGeom prst="bentConnector3">
            <a:avLst>
              <a:gd name="adj1" fmla="val 37764"/>
            </a:avLst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>
            <a:stCxn id="41" idx="2"/>
            <a:endCxn id="2" idx="0"/>
          </p:cNvCxnSpPr>
          <p:nvPr/>
        </p:nvCxnSpPr>
        <p:spPr>
          <a:xfrm rot="16200000" flipH="1">
            <a:off x="3536014" y="2161737"/>
            <a:ext cx="409915" cy="1581812"/>
          </a:xfrm>
          <a:prstGeom prst="bentConnector3">
            <a:avLst>
              <a:gd name="adj1" fmla="val 37763"/>
            </a:avLst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608187" y="1518226"/>
            <a:ext cx="4947007" cy="238259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 flipV="1">
            <a:off x="620691" y="4172932"/>
            <a:ext cx="0" cy="1191295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620692" y="4172932"/>
            <a:ext cx="4978393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5561463" y="4172932"/>
            <a:ext cx="0" cy="1191295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1" name="Group 63"/>
          <p:cNvGrpSpPr>
            <a:grpSpLocks/>
          </p:cNvGrpSpPr>
          <p:nvPr/>
        </p:nvGrpSpPr>
        <p:grpSpPr bwMode="auto">
          <a:xfrm rot="10800000">
            <a:off x="4418059" y="3607018"/>
            <a:ext cx="220076" cy="766563"/>
            <a:chOff x="3172" y="2337"/>
            <a:chExt cx="104" cy="483"/>
          </a:xfrm>
        </p:grpSpPr>
        <p:sp>
          <p:nvSpPr>
            <p:cNvPr id="102" name="Rectangle 64"/>
            <p:cNvSpPr>
              <a:spLocks noChangeArrowheads="1"/>
            </p:cNvSpPr>
            <p:nvPr/>
          </p:nvSpPr>
          <p:spPr bwMode="auto">
            <a:xfrm>
              <a:off x="3172" y="2416"/>
              <a:ext cx="104" cy="404"/>
            </a:xfrm>
            <a:prstGeom prst="rect">
              <a:avLst/>
            </a:prstGeom>
            <a:solidFill>
              <a:srgbClr val="FF33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pic>
          <p:nvPicPr>
            <p:cNvPr id="103" name="Picture 65" descr="BD21298_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3185" y="2337"/>
              <a:ext cx="78" cy="78"/>
            </a:xfrm>
            <a:prstGeom prst="rect">
              <a:avLst/>
            </a:prstGeom>
            <a:noFill/>
          </p:spPr>
        </p:pic>
        <p:pic>
          <p:nvPicPr>
            <p:cNvPr id="104" name="Picture 66" descr="envelope-icon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187" y="2437"/>
              <a:ext cx="74" cy="62"/>
            </a:xfrm>
            <a:prstGeom prst="rect">
              <a:avLst/>
            </a:prstGeom>
            <a:noFill/>
          </p:spPr>
        </p:pic>
        <p:pic>
          <p:nvPicPr>
            <p:cNvPr id="105" name="Picture 67" descr="envelope-icon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187" y="2535"/>
              <a:ext cx="74" cy="62"/>
            </a:xfrm>
            <a:prstGeom prst="rect">
              <a:avLst/>
            </a:prstGeom>
            <a:noFill/>
          </p:spPr>
        </p:pic>
        <p:pic>
          <p:nvPicPr>
            <p:cNvPr id="106" name="Picture 68" descr="envelope-icon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187" y="2634"/>
              <a:ext cx="74" cy="62"/>
            </a:xfrm>
            <a:prstGeom prst="rect">
              <a:avLst/>
            </a:prstGeom>
            <a:noFill/>
          </p:spPr>
        </p:pic>
        <p:pic>
          <p:nvPicPr>
            <p:cNvPr id="107" name="Picture 69" descr="envelope-icon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187" y="2733"/>
              <a:ext cx="74" cy="62"/>
            </a:xfrm>
            <a:prstGeom prst="rect">
              <a:avLst/>
            </a:prstGeom>
            <a:noFill/>
          </p:spPr>
        </p:pic>
      </p:grpSp>
      <p:cxnSp>
        <p:nvCxnSpPr>
          <p:cNvPr id="109" name="Straight Connector 108"/>
          <p:cNvCxnSpPr>
            <a:stCxn id="2" idx="2"/>
            <a:endCxn id="102" idx="2"/>
          </p:cNvCxnSpPr>
          <p:nvPr/>
        </p:nvCxnSpPr>
        <p:spPr>
          <a:xfrm flipH="1">
            <a:off x="4528098" y="3378468"/>
            <a:ext cx="3780" cy="22855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1" name="Group 110"/>
          <p:cNvGrpSpPr/>
          <p:nvPr/>
        </p:nvGrpSpPr>
        <p:grpSpPr>
          <a:xfrm>
            <a:off x="6930704" y="1775007"/>
            <a:ext cx="4305112" cy="1374662"/>
            <a:chOff x="2486586" y="2345748"/>
            <a:chExt cx="4703608" cy="1186144"/>
          </a:xfrm>
        </p:grpSpPr>
        <p:pic>
          <p:nvPicPr>
            <p:cNvPr id="112" name="Picture 111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7380" y="3040878"/>
              <a:ext cx="491014" cy="491014"/>
            </a:xfrm>
            <a:prstGeom prst="rect">
              <a:avLst/>
            </a:prstGeom>
          </p:spPr>
        </p:pic>
        <p:pic>
          <p:nvPicPr>
            <p:cNvPr id="113" name="Picture 112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3474" y="3036115"/>
              <a:ext cx="491014" cy="491014"/>
            </a:xfrm>
            <a:prstGeom prst="rect">
              <a:avLst/>
            </a:prstGeom>
          </p:spPr>
        </p:pic>
        <p:pic>
          <p:nvPicPr>
            <p:cNvPr id="114" name="Picture 113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2906" y="3040878"/>
              <a:ext cx="491014" cy="491014"/>
            </a:xfrm>
            <a:prstGeom prst="rect">
              <a:avLst/>
            </a:prstGeom>
          </p:spPr>
        </p:pic>
        <p:pic>
          <p:nvPicPr>
            <p:cNvPr id="115" name="Picture 114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0519" y="2345748"/>
              <a:ext cx="585201" cy="585201"/>
            </a:xfrm>
            <a:prstGeom prst="rect">
              <a:avLst/>
            </a:prstGeom>
          </p:spPr>
        </p:pic>
        <p:pic>
          <p:nvPicPr>
            <p:cNvPr id="116" name="Picture 115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1087" y="2345748"/>
              <a:ext cx="585201" cy="585201"/>
            </a:xfrm>
            <a:prstGeom prst="rect">
              <a:avLst/>
            </a:prstGeom>
          </p:spPr>
        </p:pic>
        <p:pic>
          <p:nvPicPr>
            <p:cNvPr id="117" name="Picture 116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4993" y="2345748"/>
              <a:ext cx="585201" cy="585201"/>
            </a:xfrm>
            <a:prstGeom prst="rect">
              <a:avLst/>
            </a:prstGeom>
          </p:spPr>
        </p:pic>
        <p:grpSp>
          <p:nvGrpSpPr>
            <p:cNvPr id="118" name="Group 117"/>
            <p:cNvGrpSpPr>
              <a:grpSpLocks/>
            </p:cNvGrpSpPr>
            <p:nvPr/>
          </p:nvGrpSpPr>
          <p:grpSpPr bwMode="auto">
            <a:xfrm>
              <a:off x="2486586" y="2532593"/>
              <a:ext cx="4395788" cy="789384"/>
              <a:chOff x="1414" y="1727"/>
              <a:chExt cx="2670" cy="663"/>
            </a:xfrm>
          </p:grpSpPr>
          <p:grpSp>
            <p:nvGrpSpPr>
              <p:cNvPr id="119" name="Group 118"/>
              <p:cNvGrpSpPr>
                <a:grpSpLocks/>
              </p:cNvGrpSpPr>
              <p:nvPr/>
            </p:nvGrpSpPr>
            <p:grpSpPr bwMode="auto">
              <a:xfrm>
                <a:off x="1632" y="1727"/>
                <a:ext cx="1156" cy="663"/>
                <a:chOff x="1632" y="1727"/>
                <a:chExt cx="1156" cy="663"/>
              </a:xfrm>
            </p:grpSpPr>
            <p:sp>
              <p:nvSpPr>
                <p:cNvPr id="171" name="AutoShape 16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172" name="AutoShape 17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3" name="Rectangle 18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4" name="Line 19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120" name="Rectangle 20"/>
              <p:cNvSpPr>
                <a:spLocks noChangeArrowheads="1"/>
              </p:cNvSpPr>
              <p:nvPr/>
            </p:nvSpPr>
            <p:spPr bwMode="auto">
              <a:xfrm>
                <a:off x="1414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21" name="AutoShape 21"/>
              <p:cNvSpPr>
                <a:spLocks noChangeArrowheads="1"/>
              </p:cNvSpPr>
              <p:nvPr/>
            </p:nvSpPr>
            <p:spPr bwMode="auto">
              <a:xfrm>
                <a:off x="1458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2" name="AutoShape 22"/>
              <p:cNvSpPr>
                <a:spLocks noChangeArrowheads="1"/>
              </p:cNvSpPr>
              <p:nvPr/>
            </p:nvSpPr>
            <p:spPr bwMode="auto">
              <a:xfrm>
                <a:off x="1458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3" name="AutoShape 23"/>
              <p:cNvSpPr>
                <a:spLocks noChangeArrowheads="1"/>
              </p:cNvSpPr>
              <p:nvPr/>
            </p:nvSpPr>
            <p:spPr bwMode="auto">
              <a:xfrm>
                <a:off x="1458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4" name="AutoShape 24"/>
              <p:cNvSpPr>
                <a:spLocks noChangeArrowheads="1"/>
              </p:cNvSpPr>
              <p:nvPr/>
            </p:nvSpPr>
            <p:spPr bwMode="auto">
              <a:xfrm>
                <a:off x="1458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5" name="AutoShape 25"/>
              <p:cNvSpPr>
                <a:spLocks noChangeArrowheads="1"/>
              </p:cNvSpPr>
              <p:nvPr/>
            </p:nvSpPr>
            <p:spPr bwMode="auto">
              <a:xfrm>
                <a:off x="1458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00FF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6" name="AutoShape 26"/>
              <p:cNvSpPr>
                <a:spLocks noChangeArrowheads="1"/>
              </p:cNvSpPr>
              <p:nvPr/>
            </p:nvSpPr>
            <p:spPr bwMode="auto">
              <a:xfrm>
                <a:off x="1700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7" name="AutoShape 27"/>
              <p:cNvSpPr>
                <a:spLocks noChangeArrowheads="1"/>
              </p:cNvSpPr>
              <p:nvPr/>
            </p:nvSpPr>
            <p:spPr bwMode="auto">
              <a:xfrm>
                <a:off x="1700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28" name="Rectangle 28"/>
              <p:cNvSpPr>
                <a:spLocks noChangeArrowheads="1"/>
              </p:cNvSpPr>
              <p:nvPr/>
            </p:nvSpPr>
            <p:spPr bwMode="auto">
              <a:xfrm>
                <a:off x="1436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29" name="Line 29"/>
              <p:cNvSpPr>
                <a:spLocks noChangeShapeType="1"/>
              </p:cNvSpPr>
              <p:nvPr/>
            </p:nvSpPr>
            <p:spPr bwMode="auto">
              <a:xfrm>
                <a:off x="1418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0" name="Line 30"/>
              <p:cNvSpPr>
                <a:spLocks noChangeShapeType="1"/>
              </p:cNvSpPr>
              <p:nvPr/>
            </p:nvSpPr>
            <p:spPr bwMode="auto">
              <a:xfrm>
                <a:off x="1418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1" name="Line 31"/>
              <p:cNvSpPr>
                <a:spLocks noChangeShapeType="1"/>
              </p:cNvSpPr>
              <p:nvPr/>
            </p:nvSpPr>
            <p:spPr bwMode="auto">
              <a:xfrm>
                <a:off x="1416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2" name="Line 32"/>
              <p:cNvSpPr>
                <a:spLocks noChangeShapeType="1"/>
              </p:cNvSpPr>
              <p:nvPr/>
            </p:nvSpPr>
            <p:spPr bwMode="auto">
              <a:xfrm>
                <a:off x="196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grpSp>
            <p:nvGrpSpPr>
              <p:cNvPr id="133" name="Group 33"/>
              <p:cNvGrpSpPr>
                <a:grpSpLocks/>
              </p:cNvGrpSpPr>
              <p:nvPr/>
            </p:nvGrpSpPr>
            <p:grpSpPr bwMode="auto">
              <a:xfrm>
                <a:off x="2672" y="1727"/>
                <a:ext cx="1156" cy="663"/>
                <a:chOff x="1632" y="1727"/>
                <a:chExt cx="1156" cy="663"/>
              </a:xfrm>
            </p:grpSpPr>
            <p:sp>
              <p:nvSpPr>
                <p:cNvPr id="167" name="AutoShape 34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168" name="AutoShape 35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9" name="Rectangle 36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0" name="Line 37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134" name="Rectangle 38"/>
              <p:cNvSpPr>
                <a:spLocks noChangeArrowheads="1"/>
              </p:cNvSpPr>
              <p:nvPr/>
            </p:nvSpPr>
            <p:spPr bwMode="auto">
              <a:xfrm>
                <a:off x="245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5" name="Rectangle 39"/>
              <p:cNvSpPr>
                <a:spLocks noChangeArrowheads="1"/>
              </p:cNvSpPr>
              <p:nvPr/>
            </p:nvSpPr>
            <p:spPr bwMode="auto">
              <a:xfrm>
                <a:off x="248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6" name="Rectangle 40"/>
              <p:cNvSpPr>
                <a:spLocks noChangeArrowheads="1"/>
              </p:cNvSpPr>
              <p:nvPr/>
            </p:nvSpPr>
            <p:spPr bwMode="auto">
              <a:xfrm>
                <a:off x="245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37" name="AutoShape 41"/>
              <p:cNvSpPr>
                <a:spLocks noChangeArrowheads="1"/>
              </p:cNvSpPr>
              <p:nvPr/>
            </p:nvSpPr>
            <p:spPr bwMode="auto">
              <a:xfrm>
                <a:off x="249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38" name="AutoShape 42"/>
              <p:cNvSpPr>
                <a:spLocks noChangeArrowheads="1"/>
              </p:cNvSpPr>
              <p:nvPr/>
            </p:nvSpPr>
            <p:spPr bwMode="auto">
              <a:xfrm>
                <a:off x="249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39" name="AutoShape 43"/>
              <p:cNvSpPr>
                <a:spLocks noChangeArrowheads="1"/>
              </p:cNvSpPr>
              <p:nvPr/>
            </p:nvSpPr>
            <p:spPr bwMode="auto">
              <a:xfrm>
                <a:off x="249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40" name="AutoShape 44"/>
              <p:cNvSpPr>
                <a:spLocks noChangeArrowheads="1"/>
              </p:cNvSpPr>
              <p:nvPr/>
            </p:nvSpPr>
            <p:spPr bwMode="auto">
              <a:xfrm>
                <a:off x="249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41" name="AutoShape 45"/>
              <p:cNvSpPr>
                <a:spLocks noChangeArrowheads="1"/>
              </p:cNvSpPr>
              <p:nvPr/>
            </p:nvSpPr>
            <p:spPr bwMode="auto">
              <a:xfrm>
                <a:off x="249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42" name="AutoShape 46"/>
              <p:cNvSpPr>
                <a:spLocks noChangeArrowheads="1"/>
              </p:cNvSpPr>
              <p:nvPr/>
            </p:nvSpPr>
            <p:spPr bwMode="auto">
              <a:xfrm>
                <a:off x="273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43" name="AutoShape 47"/>
              <p:cNvSpPr>
                <a:spLocks noChangeArrowheads="1"/>
              </p:cNvSpPr>
              <p:nvPr/>
            </p:nvSpPr>
            <p:spPr bwMode="auto">
              <a:xfrm>
                <a:off x="273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44" name="Rectangle 48"/>
              <p:cNvSpPr>
                <a:spLocks noChangeArrowheads="1"/>
              </p:cNvSpPr>
              <p:nvPr/>
            </p:nvSpPr>
            <p:spPr bwMode="auto">
              <a:xfrm>
                <a:off x="247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45" name="Line 49"/>
              <p:cNvSpPr>
                <a:spLocks noChangeShapeType="1"/>
              </p:cNvSpPr>
              <p:nvPr/>
            </p:nvSpPr>
            <p:spPr bwMode="auto">
              <a:xfrm>
                <a:off x="245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46" name="Line 50"/>
              <p:cNvSpPr>
                <a:spLocks noChangeShapeType="1"/>
              </p:cNvSpPr>
              <p:nvPr/>
            </p:nvSpPr>
            <p:spPr bwMode="auto">
              <a:xfrm>
                <a:off x="245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47" name="Line 51"/>
              <p:cNvSpPr>
                <a:spLocks noChangeShapeType="1"/>
              </p:cNvSpPr>
              <p:nvPr/>
            </p:nvSpPr>
            <p:spPr bwMode="auto">
              <a:xfrm>
                <a:off x="245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48" name="Line 52"/>
              <p:cNvSpPr>
                <a:spLocks noChangeShapeType="1"/>
              </p:cNvSpPr>
              <p:nvPr/>
            </p:nvSpPr>
            <p:spPr bwMode="auto">
              <a:xfrm>
                <a:off x="245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49" name="Line 53"/>
              <p:cNvSpPr>
                <a:spLocks noChangeShapeType="1"/>
              </p:cNvSpPr>
              <p:nvPr/>
            </p:nvSpPr>
            <p:spPr bwMode="auto">
              <a:xfrm>
                <a:off x="300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50" name="Rectangle 54"/>
              <p:cNvSpPr>
                <a:spLocks noChangeArrowheads="1"/>
              </p:cNvSpPr>
              <p:nvPr/>
            </p:nvSpPr>
            <p:spPr bwMode="auto">
              <a:xfrm>
                <a:off x="349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51" name="Rectangle 55"/>
              <p:cNvSpPr>
                <a:spLocks noChangeArrowheads="1"/>
              </p:cNvSpPr>
              <p:nvPr/>
            </p:nvSpPr>
            <p:spPr bwMode="auto">
              <a:xfrm>
                <a:off x="352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52" name="Rectangle 56"/>
              <p:cNvSpPr>
                <a:spLocks noChangeArrowheads="1"/>
              </p:cNvSpPr>
              <p:nvPr/>
            </p:nvSpPr>
            <p:spPr bwMode="auto">
              <a:xfrm>
                <a:off x="349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53" name="AutoShape 57"/>
              <p:cNvSpPr>
                <a:spLocks noChangeArrowheads="1"/>
              </p:cNvSpPr>
              <p:nvPr/>
            </p:nvSpPr>
            <p:spPr bwMode="auto">
              <a:xfrm>
                <a:off x="353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4" name="AutoShape 58"/>
              <p:cNvSpPr>
                <a:spLocks noChangeArrowheads="1"/>
              </p:cNvSpPr>
              <p:nvPr/>
            </p:nvSpPr>
            <p:spPr bwMode="auto">
              <a:xfrm>
                <a:off x="353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5" name="AutoShape 59"/>
              <p:cNvSpPr>
                <a:spLocks noChangeArrowheads="1"/>
              </p:cNvSpPr>
              <p:nvPr/>
            </p:nvSpPr>
            <p:spPr bwMode="auto">
              <a:xfrm>
                <a:off x="353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66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6" name="AutoShape 60"/>
              <p:cNvSpPr>
                <a:spLocks noChangeArrowheads="1"/>
              </p:cNvSpPr>
              <p:nvPr/>
            </p:nvSpPr>
            <p:spPr bwMode="auto">
              <a:xfrm>
                <a:off x="353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00FF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7" name="AutoShape 61"/>
              <p:cNvSpPr>
                <a:spLocks noChangeArrowheads="1"/>
              </p:cNvSpPr>
              <p:nvPr/>
            </p:nvSpPr>
            <p:spPr bwMode="auto">
              <a:xfrm>
                <a:off x="353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8" name="AutoShape 62"/>
              <p:cNvSpPr>
                <a:spLocks noChangeArrowheads="1"/>
              </p:cNvSpPr>
              <p:nvPr/>
            </p:nvSpPr>
            <p:spPr bwMode="auto">
              <a:xfrm>
                <a:off x="377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59" name="AutoShape 63"/>
              <p:cNvSpPr>
                <a:spLocks noChangeArrowheads="1"/>
              </p:cNvSpPr>
              <p:nvPr/>
            </p:nvSpPr>
            <p:spPr bwMode="auto">
              <a:xfrm>
                <a:off x="377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60" name="Rectangle 64"/>
              <p:cNvSpPr>
                <a:spLocks noChangeArrowheads="1"/>
              </p:cNvSpPr>
              <p:nvPr/>
            </p:nvSpPr>
            <p:spPr bwMode="auto">
              <a:xfrm>
                <a:off x="351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1" name="Line 65"/>
              <p:cNvSpPr>
                <a:spLocks noChangeShapeType="1"/>
              </p:cNvSpPr>
              <p:nvPr/>
            </p:nvSpPr>
            <p:spPr bwMode="auto">
              <a:xfrm>
                <a:off x="349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2" name="Line 66"/>
              <p:cNvSpPr>
                <a:spLocks noChangeShapeType="1"/>
              </p:cNvSpPr>
              <p:nvPr/>
            </p:nvSpPr>
            <p:spPr bwMode="auto">
              <a:xfrm>
                <a:off x="349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3" name="Line 67"/>
              <p:cNvSpPr>
                <a:spLocks noChangeShapeType="1"/>
              </p:cNvSpPr>
              <p:nvPr/>
            </p:nvSpPr>
            <p:spPr bwMode="auto">
              <a:xfrm>
                <a:off x="349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4" name="Line 68"/>
              <p:cNvSpPr>
                <a:spLocks noChangeShapeType="1"/>
              </p:cNvSpPr>
              <p:nvPr/>
            </p:nvSpPr>
            <p:spPr bwMode="auto">
              <a:xfrm>
                <a:off x="349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5" name="Line 69"/>
              <p:cNvSpPr>
                <a:spLocks noChangeShapeType="1"/>
              </p:cNvSpPr>
              <p:nvPr/>
            </p:nvSpPr>
            <p:spPr bwMode="auto">
              <a:xfrm>
                <a:off x="4044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166" name="Rectangle 70"/>
              <p:cNvSpPr>
                <a:spLocks noChangeArrowheads="1"/>
              </p:cNvSpPr>
              <p:nvPr/>
            </p:nvSpPr>
            <p:spPr bwMode="auto">
              <a:xfrm rot="-5400000">
                <a:off x="3890" y="2078"/>
                <a:ext cx="352" cy="36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</p:grpSp>
      </p:grpSp>
      <p:cxnSp>
        <p:nvCxnSpPr>
          <p:cNvPr id="176" name="Straight Arrow Connector 175"/>
          <p:cNvCxnSpPr>
            <a:stCxn id="151" idx="2"/>
            <a:endCxn id="175" idx="0"/>
          </p:cNvCxnSpPr>
          <p:nvPr/>
        </p:nvCxnSpPr>
        <p:spPr>
          <a:xfrm>
            <a:off x="10527629" y="2749088"/>
            <a:ext cx="7647" cy="41522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9" name="Rectangle 178"/>
          <p:cNvSpPr/>
          <p:nvPr/>
        </p:nvSpPr>
        <p:spPr>
          <a:xfrm>
            <a:off x="6611058" y="1519628"/>
            <a:ext cx="4947007" cy="238259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>
              <a:latin typeface="Arial" panose="020B0604020202020204" pitchFamily="34" charset="0"/>
            </a:endParaRPr>
          </a:p>
        </p:txBody>
      </p:sp>
      <p:cxnSp>
        <p:nvCxnSpPr>
          <p:cNvPr id="180" name="Straight Connector 179"/>
          <p:cNvCxnSpPr/>
          <p:nvPr/>
        </p:nvCxnSpPr>
        <p:spPr>
          <a:xfrm flipV="1">
            <a:off x="6623562" y="4174334"/>
            <a:ext cx="0" cy="1191295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/>
        </p:nvCxnSpPr>
        <p:spPr>
          <a:xfrm>
            <a:off x="6623563" y="4174334"/>
            <a:ext cx="4978393" cy="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/>
        </p:nvCxnSpPr>
        <p:spPr>
          <a:xfrm>
            <a:off x="11564334" y="4174334"/>
            <a:ext cx="0" cy="1191295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8" name="Group 227"/>
          <p:cNvGrpSpPr/>
          <p:nvPr/>
        </p:nvGrpSpPr>
        <p:grpSpPr>
          <a:xfrm>
            <a:off x="10135287" y="3164315"/>
            <a:ext cx="799977" cy="1215981"/>
            <a:chOff x="7603445" y="2369199"/>
            <a:chExt cx="600139" cy="912223"/>
          </a:xfrm>
        </p:grpSpPr>
        <p:sp>
          <p:nvSpPr>
            <p:cNvPr id="175" name="Rounded Rectangle 174"/>
            <p:cNvSpPr/>
            <p:nvPr/>
          </p:nvSpPr>
          <p:spPr>
            <a:xfrm>
              <a:off x="7603445" y="2369199"/>
              <a:ext cx="600139" cy="1656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33">
                  <a:latin typeface="Arial" panose="020B0604020202020204" pitchFamily="34" charset="0"/>
                </a:rPr>
                <a:t>Parallel Gateway Sender</a:t>
              </a:r>
            </a:p>
          </p:txBody>
        </p:sp>
        <p:grpSp>
          <p:nvGrpSpPr>
            <p:cNvPr id="183" name="Group 63"/>
            <p:cNvGrpSpPr>
              <a:grpSpLocks/>
            </p:cNvGrpSpPr>
            <p:nvPr/>
          </p:nvGrpSpPr>
          <p:grpSpPr bwMode="auto">
            <a:xfrm rot="10800000">
              <a:off x="7817734" y="2706350"/>
              <a:ext cx="165100" cy="575072"/>
              <a:chOff x="3172" y="2337"/>
              <a:chExt cx="104" cy="483"/>
            </a:xfrm>
          </p:grpSpPr>
          <p:sp>
            <p:nvSpPr>
              <p:cNvPr id="184" name="Rectangle 64"/>
              <p:cNvSpPr>
                <a:spLocks noChangeArrowheads="1"/>
              </p:cNvSpPr>
              <p:nvPr/>
            </p:nvSpPr>
            <p:spPr bwMode="auto">
              <a:xfrm>
                <a:off x="3172" y="2416"/>
                <a:ext cx="104" cy="404"/>
              </a:xfrm>
              <a:prstGeom prst="rect">
                <a:avLst/>
              </a:prstGeom>
              <a:solidFill>
                <a:srgbClr val="FF33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pic>
            <p:nvPicPr>
              <p:cNvPr id="185" name="Picture 65" descr="BD21298_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85" y="2337"/>
                <a:ext cx="78" cy="78"/>
              </a:xfrm>
              <a:prstGeom prst="rect">
                <a:avLst/>
              </a:prstGeom>
              <a:noFill/>
            </p:spPr>
          </p:pic>
          <p:pic>
            <p:nvPicPr>
              <p:cNvPr id="186" name="Picture 66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437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187" name="Picture 67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535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188" name="Picture 68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634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189" name="Picture 69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733"/>
                <a:ext cx="74" cy="62"/>
              </a:xfrm>
              <a:prstGeom prst="rect">
                <a:avLst/>
              </a:prstGeom>
              <a:noFill/>
            </p:spPr>
          </p:pic>
        </p:grpSp>
        <p:cxnSp>
          <p:nvCxnSpPr>
            <p:cNvPr id="190" name="Straight Connector 189"/>
            <p:cNvCxnSpPr>
              <a:stCxn id="175" idx="2"/>
              <a:endCxn id="184" idx="2"/>
            </p:cNvCxnSpPr>
            <p:nvPr/>
          </p:nvCxnSpPr>
          <p:spPr>
            <a:xfrm flipH="1">
              <a:off x="7900284" y="2534893"/>
              <a:ext cx="3231" cy="171457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" name="Straight Arrow Connector 204"/>
          <p:cNvCxnSpPr>
            <a:stCxn id="135" idx="2"/>
            <a:endCxn id="204" idx="0"/>
          </p:cNvCxnSpPr>
          <p:nvPr/>
        </p:nvCxnSpPr>
        <p:spPr>
          <a:xfrm>
            <a:off x="8960472" y="2749088"/>
            <a:ext cx="946" cy="41522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7" name="Group 226"/>
          <p:cNvGrpSpPr/>
          <p:nvPr/>
        </p:nvGrpSpPr>
        <p:grpSpPr>
          <a:xfrm>
            <a:off x="8561430" y="3164315"/>
            <a:ext cx="799977" cy="1215981"/>
            <a:chOff x="6422745" y="2371054"/>
            <a:chExt cx="600139" cy="912223"/>
          </a:xfrm>
        </p:grpSpPr>
        <p:sp>
          <p:nvSpPr>
            <p:cNvPr id="204" name="Rounded Rectangle 203"/>
            <p:cNvSpPr/>
            <p:nvPr/>
          </p:nvSpPr>
          <p:spPr>
            <a:xfrm>
              <a:off x="6422745" y="2371054"/>
              <a:ext cx="600139" cy="1656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33">
                  <a:latin typeface="Arial" panose="020B0604020202020204" pitchFamily="34" charset="0"/>
                </a:rPr>
                <a:t>Parallel Gateway Sender</a:t>
              </a:r>
            </a:p>
          </p:txBody>
        </p:sp>
        <p:grpSp>
          <p:nvGrpSpPr>
            <p:cNvPr id="206" name="Group 63"/>
            <p:cNvGrpSpPr>
              <a:grpSpLocks/>
            </p:cNvGrpSpPr>
            <p:nvPr/>
          </p:nvGrpSpPr>
          <p:grpSpPr bwMode="auto">
            <a:xfrm rot="10800000">
              <a:off x="6637034" y="2708205"/>
              <a:ext cx="165100" cy="575072"/>
              <a:chOff x="3172" y="2337"/>
              <a:chExt cx="104" cy="483"/>
            </a:xfrm>
          </p:grpSpPr>
          <p:sp>
            <p:nvSpPr>
              <p:cNvPr id="207" name="Rectangle 64"/>
              <p:cNvSpPr>
                <a:spLocks noChangeArrowheads="1"/>
              </p:cNvSpPr>
              <p:nvPr/>
            </p:nvSpPr>
            <p:spPr bwMode="auto">
              <a:xfrm>
                <a:off x="3172" y="2416"/>
                <a:ext cx="104" cy="404"/>
              </a:xfrm>
              <a:prstGeom prst="rect">
                <a:avLst/>
              </a:prstGeom>
              <a:solidFill>
                <a:srgbClr val="FF33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pic>
            <p:nvPicPr>
              <p:cNvPr id="208" name="Picture 65" descr="BD21298_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85" y="2337"/>
                <a:ext cx="78" cy="78"/>
              </a:xfrm>
              <a:prstGeom prst="rect">
                <a:avLst/>
              </a:prstGeom>
              <a:noFill/>
            </p:spPr>
          </p:pic>
          <p:pic>
            <p:nvPicPr>
              <p:cNvPr id="209" name="Picture 66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437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10" name="Picture 67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535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11" name="Picture 68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634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12" name="Picture 69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733"/>
                <a:ext cx="74" cy="62"/>
              </a:xfrm>
              <a:prstGeom prst="rect">
                <a:avLst/>
              </a:prstGeom>
              <a:noFill/>
            </p:spPr>
          </p:pic>
        </p:grpSp>
        <p:cxnSp>
          <p:nvCxnSpPr>
            <p:cNvPr id="213" name="Straight Connector 212"/>
            <p:cNvCxnSpPr>
              <a:stCxn id="204" idx="2"/>
              <a:endCxn id="207" idx="2"/>
            </p:cNvCxnSpPr>
            <p:nvPr/>
          </p:nvCxnSpPr>
          <p:spPr>
            <a:xfrm flipH="1">
              <a:off x="6719584" y="2536748"/>
              <a:ext cx="3231" cy="171457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Arrow Connector 214"/>
          <p:cNvCxnSpPr>
            <a:stCxn id="128" idx="2"/>
            <a:endCxn id="214" idx="0"/>
          </p:cNvCxnSpPr>
          <p:nvPr/>
        </p:nvCxnSpPr>
        <p:spPr>
          <a:xfrm>
            <a:off x="7387289" y="2749088"/>
            <a:ext cx="3960" cy="41522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6" name="Group 225"/>
          <p:cNvGrpSpPr/>
          <p:nvPr/>
        </p:nvGrpSpPr>
        <p:grpSpPr>
          <a:xfrm>
            <a:off x="6991260" y="3164315"/>
            <a:ext cx="799977" cy="1215981"/>
            <a:chOff x="5244811" y="2373184"/>
            <a:chExt cx="600139" cy="912223"/>
          </a:xfrm>
        </p:grpSpPr>
        <p:sp>
          <p:nvSpPr>
            <p:cNvPr id="214" name="Rounded Rectangle 213"/>
            <p:cNvSpPr/>
            <p:nvPr/>
          </p:nvSpPr>
          <p:spPr>
            <a:xfrm>
              <a:off x="5244811" y="2373184"/>
              <a:ext cx="600139" cy="1656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33">
                  <a:latin typeface="Arial" panose="020B0604020202020204" pitchFamily="34" charset="0"/>
                </a:rPr>
                <a:t>Parallel Gateway Sender</a:t>
              </a:r>
            </a:p>
          </p:txBody>
        </p:sp>
        <p:grpSp>
          <p:nvGrpSpPr>
            <p:cNvPr id="216" name="Group 63"/>
            <p:cNvGrpSpPr>
              <a:grpSpLocks/>
            </p:cNvGrpSpPr>
            <p:nvPr/>
          </p:nvGrpSpPr>
          <p:grpSpPr bwMode="auto">
            <a:xfrm rot="10800000">
              <a:off x="5459100" y="2710335"/>
              <a:ext cx="165100" cy="575072"/>
              <a:chOff x="3172" y="2337"/>
              <a:chExt cx="104" cy="483"/>
            </a:xfrm>
          </p:grpSpPr>
          <p:sp>
            <p:nvSpPr>
              <p:cNvPr id="217" name="Rectangle 64"/>
              <p:cNvSpPr>
                <a:spLocks noChangeArrowheads="1"/>
              </p:cNvSpPr>
              <p:nvPr/>
            </p:nvSpPr>
            <p:spPr bwMode="auto">
              <a:xfrm>
                <a:off x="3172" y="2416"/>
                <a:ext cx="104" cy="404"/>
              </a:xfrm>
              <a:prstGeom prst="rect">
                <a:avLst/>
              </a:prstGeom>
              <a:solidFill>
                <a:srgbClr val="FF33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pic>
            <p:nvPicPr>
              <p:cNvPr id="218" name="Picture 65" descr="BD21298_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185" y="2337"/>
                <a:ext cx="78" cy="78"/>
              </a:xfrm>
              <a:prstGeom prst="rect">
                <a:avLst/>
              </a:prstGeom>
              <a:noFill/>
            </p:spPr>
          </p:pic>
          <p:pic>
            <p:nvPicPr>
              <p:cNvPr id="219" name="Picture 66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437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20" name="Picture 67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535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21" name="Picture 68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634"/>
                <a:ext cx="74" cy="62"/>
              </a:xfrm>
              <a:prstGeom prst="rect">
                <a:avLst/>
              </a:prstGeom>
              <a:noFill/>
            </p:spPr>
          </p:pic>
          <p:pic>
            <p:nvPicPr>
              <p:cNvPr id="222" name="Picture 69" descr="envelope-icon"/>
              <p:cNvPicPr>
                <a:picLocks noChangeAspect="1" noChangeArrowheads="1"/>
              </p:cNvPicPr>
              <p:nvPr/>
            </p:nvPicPr>
            <p:blipFill>
              <a:blip r:embed="rId6" cstate="email"/>
              <a:srcRect/>
              <a:stretch>
                <a:fillRect/>
              </a:stretch>
            </p:blipFill>
            <p:spPr bwMode="auto">
              <a:xfrm>
                <a:off x="3187" y="2733"/>
                <a:ext cx="74" cy="62"/>
              </a:xfrm>
              <a:prstGeom prst="rect">
                <a:avLst/>
              </a:prstGeom>
              <a:noFill/>
            </p:spPr>
          </p:pic>
        </p:grpSp>
        <p:cxnSp>
          <p:nvCxnSpPr>
            <p:cNvPr id="223" name="Straight Connector 222"/>
            <p:cNvCxnSpPr>
              <a:stCxn id="214" idx="2"/>
              <a:endCxn id="217" idx="2"/>
            </p:cNvCxnSpPr>
            <p:nvPr/>
          </p:nvCxnSpPr>
          <p:spPr>
            <a:xfrm flipH="1">
              <a:off x="5541650" y="2538878"/>
              <a:ext cx="3231" cy="171457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Picture 64" descr="globe-spin">
            <a:extLst>
              <a:ext uri="{FF2B5EF4-FFF2-40B4-BE49-F238E27FC236}">
                <a16:creationId xmlns:a16="http://schemas.microsoft.com/office/drawing/2014/main" id="{52E1C069-C97F-4DE8-74F5-74E6307A9D0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16931" y="3209587"/>
            <a:ext cx="1502701" cy="15027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91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CEC8FA-0E74-4F40-B09B-203D69689A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CEC8FA-0E74-4F40-B09B-203D69689A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7">
            <a:extLst>
              <a:ext uri="{FF2B5EF4-FFF2-40B4-BE49-F238E27FC236}">
                <a16:creationId xmlns:a16="http://schemas.microsoft.com/office/drawing/2014/main" id="{9EFE25B8-F99C-A640-9E49-BD514073D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Mware GemFire Use Cases</a:t>
            </a:r>
          </a:p>
        </p:txBody>
      </p:sp>
      <p:sp>
        <p:nvSpPr>
          <p:cNvPr id="18" name="Subtitle 6">
            <a:extLst>
              <a:ext uri="{FF2B5EF4-FFF2-40B4-BE49-F238E27FC236}">
                <a16:creationId xmlns:a16="http://schemas.microsoft.com/office/drawing/2014/main" id="{767EC19A-9954-E844-9AD3-9ABF82613D68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Enterprises need a fit-for-purpose data store for predictable low latency performanc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4CA784-ACDC-6F44-97BF-9A1D235DDF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35048" y="2602372"/>
            <a:ext cx="3741026" cy="1608723"/>
          </a:xfrm>
          <a:noFill/>
        </p:spPr>
        <p:txBody>
          <a:bodyPr lIns="548640" tIns="274320" rIns="182880"/>
          <a:lstStyle/>
          <a:p>
            <a:pPr>
              <a:buNone/>
            </a:pPr>
            <a:r>
              <a:rPr lang="en-US" dirty="0"/>
              <a:t>Customers using traditional relational databases for low-latency applications run into challenges</a:t>
            </a:r>
          </a:p>
        </p:txBody>
      </p:sp>
      <p:sp>
        <p:nvSpPr>
          <p:cNvPr id="8" name="Content Placeholder 7" descr="content placeholder">
            <a:extLst>
              <a:ext uri="{FF2B5EF4-FFF2-40B4-BE49-F238E27FC236}">
                <a16:creationId xmlns:a16="http://schemas.microsoft.com/office/drawing/2014/main" id="{4906FF29-C4E2-264E-8179-C50151F6F70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60391" y="1444331"/>
            <a:ext cx="5789154" cy="828942"/>
          </a:xfrm>
        </p:spPr>
        <p:txBody>
          <a:bodyPr vert="horz" lIns="0" tIns="0" rIns="594360" bIns="0" rtlCol="0" anchor="t">
            <a:noAutofit/>
          </a:bodyPr>
          <a:lstStyle/>
          <a:p>
            <a:r>
              <a:rPr lang="en-US" sz="1600" b="1">
                <a:solidFill>
                  <a:schemeClr val="accent5"/>
                </a:solidFill>
              </a:rPr>
              <a:t>Low-Latency Data Access</a:t>
            </a:r>
            <a:br>
              <a:rPr lang="en-US"/>
            </a:br>
            <a:r>
              <a:rPr lang="en-US" sz="1200"/>
              <a:t>Quick response times and high-speed data access. Query response times get to double-digit milliseconds (at best) with traditional DBs, single-digit with GemFire</a:t>
            </a:r>
          </a:p>
        </p:txBody>
      </p:sp>
      <p:pic>
        <p:nvPicPr>
          <p:cNvPr id="3" name="Graphic 2" descr="sample icon of tools in indigo">
            <a:extLst>
              <a:ext uri="{FF2B5EF4-FFF2-40B4-BE49-F238E27FC236}">
                <a16:creationId xmlns:a16="http://schemas.microsoft.com/office/drawing/2014/main" id="{3049338E-12C3-1047-8A09-6A3AB07795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34470" y="3314275"/>
            <a:ext cx="867002" cy="867002"/>
          </a:xfrm>
          <a:prstGeom prst="rect">
            <a:avLst/>
          </a:prstGeom>
        </p:spPr>
      </p:pic>
      <p:sp>
        <p:nvSpPr>
          <p:cNvPr id="10" name="Content Placeholder 9" descr="content placeholder">
            <a:extLst>
              <a:ext uri="{FF2B5EF4-FFF2-40B4-BE49-F238E27FC236}">
                <a16:creationId xmlns:a16="http://schemas.microsoft.com/office/drawing/2014/main" id="{4ED9E8EE-DE5F-4048-AC4C-94846489AE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160391" y="2417112"/>
            <a:ext cx="5455228" cy="709301"/>
          </a:xfrm>
        </p:spPr>
        <p:txBody>
          <a:bodyPr vert="horz" lIns="0" tIns="0" rIns="594360" bIns="0" rtlCol="0" anchor="t">
            <a:no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Scaling</a:t>
            </a:r>
            <a:r>
              <a:rPr lang="en-US" sz="1600" b="1" dirty="0">
                <a:solidFill>
                  <a:schemeClr val="accent2"/>
                </a:solidFill>
              </a:rPr>
              <a:t> for high read frequency</a:t>
            </a:r>
            <a:br>
              <a:rPr lang="en-US" sz="1600" dirty="0"/>
            </a:br>
            <a:r>
              <a:rPr lang="en-US" sz="1200" b="0" dirty="0">
                <a:solidFill>
                  <a:schemeClr val="tx2"/>
                </a:solidFill>
              </a:rPr>
              <a:t>high cost to scale since traditional DBs require a ton of read replicas to match what a single cache may deliver</a:t>
            </a:r>
          </a:p>
        </p:txBody>
      </p:sp>
      <p:sp>
        <p:nvSpPr>
          <p:cNvPr id="12" name="Content Placeholder 11" descr="content placeholder">
            <a:extLst>
              <a:ext uri="{FF2B5EF4-FFF2-40B4-BE49-F238E27FC236}">
                <a16:creationId xmlns:a16="http://schemas.microsoft.com/office/drawing/2014/main" id="{5FA70D44-B50A-8C41-BCC2-31A04093E6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160391" y="3393127"/>
            <a:ext cx="5645786" cy="867002"/>
          </a:xfrm>
        </p:spPr>
        <p:txBody>
          <a:bodyPr vert="horz" lIns="0" tIns="0" rIns="594360" bIns="0" rtlCol="0" anchor="t">
            <a:noAutofit/>
          </a:bodyPr>
          <a:lstStyle/>
          <a:p>
            <a:r>
              <a:rPr lang="en-US" sz="1600" b="1">
                <a:solidFill>
                  <a:schemeClr val="accent6"/>
                </a:solidFill>
              </a:rPr>
              <a:t>Simplify Data Access</a:t>
            </a:r>
            <a:br>
              <a:rPr lang="en-US"/>
            </a:br>
            <a:r>
              <a:rPr lang="en-US" sz="1200"/>
              <a:t>Relational DBs are not optimal when apps may want to access data in a particular structure or to increase app performance (JSON payloads or Data Objects)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B287A86E-7027-7F48-A023-EAA03005C10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60391" y="4326879"/>
            <a:ext cx="5645786" cy="709301"/>
          </a:xfrm>
        </p:spPr>
        <p:txBody>
          <a:bodyPr vert="horz" lIns="0" tIns="0" rIns="59436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sz="1600" dirty="0"/>
              <a:t>Low-Latency Cache for Disconnected microservices</a:t>
            </a:r>
            <a:br>
              <a:rPr lang="en-US" sz="1600" dirty="0"/>
            </a:br>
            <a:r>
              <a:rPr lang="en-US" sz="1200" b="0" dirty="0">
                <a:solidFill>
                  <a:schemeClr val="tx2"/>
                </a:solidFill>
              </a:rPr>
              <a:t>Modern apps need a data tier to store their state. Without a cache inserted in the architecture, modern apps cannot deliver a speedy response to concurrent data requests. </a:t>
            </a:r>
            <a:endParaRPr lang="en-US" sz="1200" dirty="0">
              <a:solidFill>
                <a:schemeClr val="tx2"/>
              </a:solidFill>
            </a:endParaRPr>
          </a:p>
        </p:txBody>
      </p:sp>
      <p:grpSp>
        <p:nvGrpSpPr>
          <p:cNvPr id="15" name="Group 14" descr="Disconnect">
            <a:extLst>
              <a:ext uri="{FF2B5EF4-FFF2-40B4-BE49-F238E27FC236}">
                <a16:creationId xmlns:a16="http://schemas.microsoft.com/office/drawing/2014/main" id="{6153CDE9-74FD-0E42-824D-44C0B5B09D4C}"/>
              </a:ext>
            </a:extLst>
          </p:cNvPr>
          <p:cNvGrpSpPr/>
          <p:nvPr/>
        </p:nvGrpSpPr>
        <p:grpSpPr>
          <a:xfrm>
            <a:off x="5201264" y="4446455"/>
            <a:ext cx="667100" cy="581122"/>
            <a:chOff x="9760421" y="766315"/>
            <a:chExt cx="599041" cy="515771"/>
          </a:xfrm>
          <a:solidFill>
            <a:srgbClr val="0070C0"/>
          </a:solidFill>
        </p:grpSpPr>
        <p:sp>
          <p:nvSpPr>
            <p:cNvPr id="16" name="Picture Placeholder 81">
              <a:extLst>
                <a:ext uri="{FF2B5EF4-FFF2-40B4-BE49-F238E27FC236}">
                  <a16:creationId xmlns:a16="http://schemas.microsoft.com/office/drawing/2014/main" id="{D86292F4-2430-9546-B665-15270873B87D}"/>
                </a:ext>
              </a:extLst>
            </p:cNvPr>
            <p:cNvSpPr/>
            <p:nvPr/>
          </p:nvSpPr>
          <p:spPr>
            <a:xfrm>
              <a:off x="9822841" y="1110563"/>
              <a:ext cx="474345" cy="171523"/>
            </a:xfrm>
            <a:custGeom>
              <a:avLst/>
              <a:gdLst>
                <a:gd name="connsiteX0" fmla="*/ 237868 w 474345"/>
                <a:gd name="connsiteY0" fmla="*/ 171397 h 171523"/>
                <a:gd name="connsiteX1" fmla="*/ 0 w 474345"/>
                <a:gd name="connsiteY1" fmla="*/ 5439 h 171523"/>
                <a:gd name="connsiteX2" fmla="*/ 14863 w 474345"/>
                <a:gd name="connsiteY2" fmla="*/ 0 h 171523"/>
                <a:gd name="connsiteX3" fmla="*/ 237678 w 474345"/>
                <a:gd name="connsiteY3" fmla="*/ 155712 h 171523"/>
                <a:gd name="connsiteX4" fmla="*/ 237678 w 474345"/>
                <a:gd name="connsiteY4" fmla="*/ 155712 h 171523"/>
                <a:gd name="connsiteX5" fmla="*/ 459039 w 474345"/>
                <a:gd name="connsiteY5" fmla="*/ 4807 h 171523"/>
                <a:gd name="connsiteX6" fmla="*/ 474345 w 474345"/>
                <a:gd name="connsiteY6" fmla="*/ 10689 h 171523"/>
                <a:gd name="connsiteX7" fmla="*/ 238184 w 474345"/>
                <a:gd name="connsiteY7" fmla="*/ 171523 h 17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4345" h="171523">
                  <a:moveTo>
                    <a:pt x="237868" y="171397"/>
                  </a:moveTo>
                  <a:cubicBezTo>
                    <a:pt x="131631" y="171403"/>
                    <a:pt x="36667" y="105147"/>
                    <a:pt x="0" y="5439"/>
                  </a:cubicBezTo>
                  <a:lnTo>
                    <a:pt x="14863" y="0"/>
                  </a:lnTo>
                  <a:cubicBezTo>
                    <a:pt x="49256" y="93399"/>
                    <a:pt x="138149" y="155520"/>
                    <a:pt x="237678" y="155712"/>
                  </a:cubicBezTo>
                  <a:lnTo>
                    <a:pt x="237678" y="155712"/>
                  </a:lnTo>
                  <a:cubicBezTo>
                    <a:pt x="335443" y="155607"/>
                    <a:pt x="423215" y="95771"/>
                    <a:pt x="459039" y="4807"/>
                  </a:cubicBezTo>
                  <a:lnTo>
                    <a:pt x="474345" y="10689"/>
                  </a:lnTo>
                  <a:cubicBezTo>
                    <a:pt x="436187" y="107762"/>
                    <a:pt x="342488" y="171574"/>
                    <a:pt x="238184" y="171523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Picture Placeholder 81">
              <a:extLst>
                <a:ext uri="{FF2B5EF4-FFF2-40B4-BE49-F238E27FC236}">
                  <a16:creationId xmlns:a16="http://schemas.microsoft.com/office/drawing/2014/main" id="{21F0398A-B6E6-7449-B912-C150833E7EB2}"/>
                </a:ext>
              </a:extLst>
            </p:cNvPr>
            <p:cNvSpPr/>
            <p:nvPr/>
          </p:nvSpPr>
          <p:spPr>
            <a:xfrm>
              <a:off x="9823663" y="766315"/>
              <a:ext cx="472068" cy="168740"/>
            </a:xfrm>
            <a:custGeom>
              <a:avLst/>
              <a:gdLst>
                <a:gd name="connsiteX0" fmla="*/ 457332 w 472068"/>
                <a:gd name="connsiteY0" fmla="*/ 168740 h 168740"/>
                <a:gd name="connsiteX1" fmla="*/ 235212 w 472068"/>
                <a:gd name="connsiteY1" fmla="*/ 15875 h 168740"/>
                <a:gd name="connsiteX2" fmla="*/ 235212 w 472068"/>
                <a:gd name="connsiteY2" fmla="*/ 15875 h 168740"/>
                <a:gd name="connsiteX3" fmla="*/ 14673 w 472068"/>
                <a:gd name="connsiteY3" fmla="*/ 164060 h 168740"/>
                <a:gd name="connsiteX4" fmla="*/ 0 w 472068"/>
                <a:gd name="connsiteY4" fmla="*/ 158115 h 168740"/>
                <a:gd name="connsiteX5" fmla="*/ 235085 w 472068"/>
                <a:gd name="connsiteY5" fmla="*/ 0 h 168740"/>
                <a:gd name="connsiteX6" fmla="*/ 235085 w 472068"/>
                <a:gd name="connsiteY6" fmla="*/ 0 h 168740"/>
                <a:gd name="connsiteX7" fmla="*/ 472068 w 472068"/>
                <a:gd name="connsiteY7" fmla="*/ 163111 h 16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2068" h="168740">
                  <a:moveTo>
                    <a:pt x="457332" y="168740"/>
                  </a:moveTo>
                  <a:cubicBezTo>
                    <a:pt x="422052" y="76736"/>
                    <a:pt x="333749" y="15964"/>
                    <a:pt x="235212" y="15875"/>
                  </a:cubicBezTo>
                  <a:lnTo>
                    <a:pt x="235212" y="15875"/>
                  </a:lnTo>
                  <a:cubicBezTo>
                    <a:pt x="138418" y="15870"/>
                    <a:pt x="51247" y="74442"/>
                    <a:pt x="14673" y="164060"/>
                  </a:cubicBezTo>
                  <a:lnTo>
                    <a:pt x="0" y="158115"/>
                  </a:lnTo>
                  <a:cubicBezTo>
                    <a:pt x="38960" y="62543"/>
                    <a:pt x="131877" y="48"/>
                    <a:pt x="235085" y="0"/>
                  </a:cubicBezTo>
                  <a:lnTo>
                    <a:pt x="235085" y="0"/>
                  </a:lnTo>
                  <a:cubicBezTo>
                    <a:pt x="340253" y="-9"/>
                    <a:pt x="434522" y="64875"/>
                    <a:pt x="472068" y="163111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Picture Placeholder 81">
              <a:extLst>
                <a:ext uri="{FF2B5EF4-FFF2-40B4-BE49-F238E27FC236}">
                  <a16:creationId xmlns:a16="http://schemas.microsoft.com/office/drawing/2014/main" id="{9E9C222F-4E85-C24A-A111-57A4470482F3}"/>
                </a:ext>
              </a:extLst>
            </p:cNvPr>
            <p:cNvSpPr/>
            <p:nvPr/>
          </p:nvSpPr>
          <p:spPr>
            <a:xfrm>
              <a:off x="9813448" y="1006713"/>
              <a:ext cx="31623" cy="31622"/>
            </a:xfrm>
            <a:custGeom>
              <a:avLst/>
              <a:gdLst>
                <a:gd name="connsiteX0" fmla="*/ 4839 w 31623"/>
                <a:gd name="connsiteY0" fmla="*/ 4427 h 31622"/>
                <a:gd name="connsiteX1" fmla="*/ 4427 w 31623"/>
                <a:gd name="connsiteY1" fmla="*/ 26784 h 31622"/>
                <a:gd name="connsiteX2" fmla="*/ 26784 w 31623"/>
                <a:gd name="connsiteY2" fmla="*/ 27196 h 31622"/>
                <a:gd name="connsiteX3" fmla="*/ 27196 w 31623"/>
                <a:gd name="connsiteY3" fmla="*/ 4839 h 31622"/>
                <a:gd name="connsiteX4" fmla="*/ 27165 w 31623"/>
                <a:gd name="connsiteY4" fmla="*/ 4806 h 31622"/>
                <a:gd name="connsiteX5" fmla="*/ 4839 w 31623"/>
                <a:gd name="connsiteY5" fmla="*/ 4427 h 3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23" h="31622">
                  <a:moveTo>
                    <a:pt x="4839" y="4427"/>
                  </a:moveTo>
                  <a:cubicBezTo>
                    <a:pt x="-1448" y="10487"/>
                    <a:pt x="-1633" y="20497"/>
                    <a:pt x="4427" y="26784"/>
                  </a:cubicBezTo>
                  <a:cubicBezTo>
                    <a:pt x="10487" y="33072"/>
                    <a:pt x="20497" y="33256"/>
                    <a:pt x="26784" y="27196"/>
                  </a:cubicBezTo>
                  <a:cubicBezTo>
                    <a:pt x="33072" y="21136"/>
                    <a:pt x="33256" y="11126"/>
                    <a:pt x="27196" y="4839"/>
                  </a:cubicBezTo>
                  <a:cubicBezTo>
                    <a:pt x="27186" y="4828"/>
                    <a:pt x="27175" y="4817"/>
                    <a:pt x="27165" y="4806"/>
                  </a:cubicBezTo>
                  <a:cubicBezTo>
                    <a:pt x="21099" y="-1451"/>
                    <a:pt x="11114" y="-1621"/>
                    <a:pt x="4839" y="4427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Picture Placeholder 81">
              <a:extLst>
                <a:ext uri="{FF2B5EF4-FFF2-40B4-BE49-F238E27FC236}">
                  <a16:creationId xmlns:a16="http://schemas.microsoft.com/office/drawing/2014/main" id="{8E8FFDE5-5CE7-104B-A971-A89CB7422CCF}"/>
                </a:ext>
              </a:extLst>
            </p:cNvPr>
            <p:cNvSpPr/>
            <p:nvPr/>
          </p:nvSpPr>
          <p:spPr>
            <a:xfrm>
              <a:off x="9760421" y="914875"/>
              <a:ext cx="599041" cy="217113"/>
            </a:xfrm>
            <a:custGeom>
              <a:avLst/>
              <a:gdLst>
                <a:gd name="connsiteX0" fmla="*/ 579709 w 599041"/>
                <a:gd name="connsiteY0" fmla="*/ 59455 h 217113"/>
                <a:gd name="connsiteX1" fmla="*/ 481326 w 599041"/>
                <a:gd name="connsiteY1" fmla="*/ 58445 h 217113"/>
                <a:gd name="connsiteX2" fmla="*/ 460869 w 599041"/>
                <a:gd name="connsiteY2" fmla="*/ 100439 h 217113"/>
                <a:gd name="connsiteX3" fmla="*/ 408185 w 599041"/>
                <a:gd name="connsiteY3" fmla="*/ 100439 h 217113"/>
                <a:gd name="connsiteX4" fmla="*/ 291495 w 599041"/>
                <a:gd name="connsiteY4" fmla="*/ 321 h 217113"/>
                <a:gd name="connsiteX5" fmla="*/ 191378 w 599041"/>
                <a:gd name="connsiteY5" fmla="*/ 100439 h 217113"/>
                <a:gd name="connsiteX6" fmla="*/ 137809 w 599041"/>
                <a:gd name="connsiteY6" fmla="*/ 100439 h 217113"/>
                <a:gd name="connsiteX7" fmla="*/ 61229 w 599041"/>
                <a:gd name="connsiteY7" fmla="*/ 39670 h 217113"/>
                <a:gd name="connsiteX8" fmla="*/ 460 w 599041"/>
                <a:gd name="connsiteY8" fmla="*/ 116250 h 217113"/>
                <a:gd name="connsiteX9" fmla="*/ 77040 w 599041"/>
                <a:gd name="connsiteY9" fmla="*/ 177019 h 217113"/>
                <a:gd name="connsiteX10" fmla="*/ 137809 w 599041"/>
                <a:gd name="connsiteY10" fmla="*/ 116250 h 217113"/>
                <a:gd name="connsiteX11" fmla="*/ 191378 w 599041"/>
                <a:gd name="connsiteY11" fmla="*/ 116250 h 217113"/>
                <a:gd name="connsiteX12" fmla="*/ 307675 w 599041"/>
                <a:gd name="connsiteY12" fmla="*/ 216824 h 217113"/>
                <a:gd name="connsiteX13" fmla="*/ 408249 w 599041"/>
                <a:gd name="connsiteY13" fmla="*/ 116250 h 217113"/>
                <a:gd name="connsiteX14" fmla="*/ 460869 w 599041"/>
                <a:gd name="connsiteY14" fmla="*/ 116250 h 217113"/>
                <a:gd name="connsiteX15" fmla="*/ 538885 w 599041"/>
                <a:gd name="connsiteY15" fmla="*/ 176197 h 217113"/>
                <a:gd name="connsiteX16" fmla="*/ 577811 w 599041"/>
                <a:gd name="connsiteY16" fmla="*/ 157613 h 217113"/>
                <a:gd name="connsiteX17" fmla="*/ 579709 w 599041"/>
                <a:gd name="connsiteY17" fmla="*/ 59455 h 217113"/>
                <a:gd name="connsiteX18" fmla="*/ 106059 w 599041"/>
                <a:gd name="connsiteY18" fmla="*/ 146229 h 217113"/>
                <a:gd name="connsiteX19" fmla="*/ 30315 w 599041"/>
                <a:gd name="connsiteY19" fmla="*/ 144754 h 217113"/>
                <a:gd name="connsiteX20" fmla="*/ 31789 w 599041"/>
                <a:gd name="connsiteY20" fmla="*/ 69010 h 217113"/>
                <a:gd name="connsiteX21" fmla="*/ 107387 w 599041"/>
                <a:gd name="connsiteY21" fmla="*/ 70334 h 217113"/>
                <a:gd name="connsiteX22" fmla="*/ 106393 w 599041"/>
                <a:gd name="connsiteY22" fmla="*/ 145907 h 217113"/>
                <a:gd name="connsiteX23" fmla="*/ 106059 w 599041"/>
                <a:gd name="connsiteY23" fmla="*/ 146229 h 217113"/>
                <a:gd name="connsiteX24" fmla="*/ 364293 w 599041"/>
                <a:gd name="connsiteY24" fmla="*/ 175512 h 217113"/>
                <a:gd name="connsiteX25" fmla="*/ 232831 w 599041"/>
                <a:gd name="connsiteY25" fmla="*/ 173206 h 217113"/>
                <a:gd name="connsiteX26" fmla="*/ 235136 w 599041"/>
                <a:gd name="connsiteY26" fmla="*/ 41745 h 217113"/>
                <a:gd name="connsiteX27" fmla="*/ 366598 w 599041"/>
                <a:gd name="connsiteY27" fmla="*/ 44050 h 217113"/>
                <a:gd name="connsiteX28" fmla="*/ 366633 w 599041"/>
                <a:gd name="connsiteY28" fmla="*/ 44086 h 217113"/>
                <a:gd name="connsiteX29" fmla="*/ 364804 w 599041"/>
                <a:gd name="connsiteY29" fmla="*/ 175019 h 217113"/>
                <a:gd name="connsiteX30" fmla="*/ 364293 w 599041"/>
                <a:gd name="connsiteY30" fmla="*/ 175512 h 217113"/>
                <a:gd name="connsiteX31" fmla="*/ 566996 w 599041"/>
                <a:gd name="connsiteY31" fmla="*/ 146229 h 217113"/>
                <a:gd name="connsiteX32" fmla="*/ 491252 w 599041"/>
                <a:gd name="connsiteY32" fmla="*/ 144754 h 217113"/>
                <a:gd name="connsiteX33" fmla="*/ 492726 w 599041"/>
                <a:gd name="connsiteY33" fmla="*/ 69010 h 217113"/>
                <a:gd name="connsiteX34" fmla="*/ 568324 w 599041"/>
                <a:gd name="connsiteY34" fmla="*/ 70334 h 217113"/>
                <a:gd name="connsiteX35" fmla="*/ 567331 w 599041"/>
                <a:gd name="connsiteY35" fmla="*/ 145907 h 217113"/>
                <a:gd name="connsiteX36" fmla="*/ 566996 w 599041"/>
                <a:gd name="connsiteY36" fmla="*/ 146229 h 21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99041" h="217113">
                  <a:moveTo>
                    <a:pt x="579709" y="59455"/>
                  </a:moveTo>
                  <a:cubicBezTo>
                    <a:pt x="552820" y="32009"/>
                    <a:pt x="508772" y="31556"/>
                    <a:pt x="481326" y="58445"/>
                  </a:cubicBezTo>
                  <a:cubicBezTo>
                    <a:pt x="469871" y="69667"/>
                    <a:pt x="462645" y="84501"/>
                    <a:pt x="460869" y="100439"/>
                  </a:cubicBezTo>
                  <a:lnTo>
                    <a:pt x="408185" y="100439"/>
                  </a:lnTo>
                  <a:cubicBezTo>
                    <a:pt x="403609" y="40569"/>
                    <a:pt x="351365" y="-4255"/>
                    <a:pt x="291495" y="321"/>
                  </a:cubicBezTo>
                  <a:cubicBezTo>
                    <a:pt x="237988" y="4411"/>
                    <a:pt x="195468" y="46931"/>
                    <a:pt x="191378" y="100439"/>
                  </a:cubicBezTo>
                  <a:lnTo>
                    <a:pt x="137809" y="100439"/>
                  </a:lnTo>
                  <a:cubicBezTo>
                    <a:pt x="133442" y="62511"/>
                    <a:pt x="99157" y="35304"/>
                    <a:pt x="61229" y="39670"/>
                  </a:cubicBezTo>
                  <a:cubicBezTo>
                    <a:pt x="23301" y="44036"/>
                    <a:pt x="-3906" y="78322"/>
                    <a:pt x="460" y="116250"/>
                  </a:cubicBezTo>
                  <a:cubicBezTo>
                    <a:pt x="4826" y="154178"/>
                    <a:pt x="39112" y="181385"/>
                    <a:pt x="77040" y="177019"/>
                  </a:cubicBezTo>
                  <a:cubicBezTo>
                    <a:pt x="108957" y="173345"/>
                    <a:pt x="134135" y="148167"/>
                    <a:pt x="137809" y="116250"/>
                  </a:cubicBezTo>
                  <a:lnTo>
                    <a:pt x="191378" y="116250"/>
                  </a:lnTo>
                  <a:cubicBezTo>
                    <a:pt x="195720" y="176137"/>
                    <a:pt x="247788" y="221166"/>
                    <a:pt x="307675" y="216824"/>
                  </a:cubicBezTo>
                  <a:cubicBezTo>
                    <a:pt x="361521" y="212920"/>
                    <a:pt x="404345" y="170096"/>
                    <a:pt x="408249" y="116250"/>
                  </a:cubicBezTo>
                  <a:lnTo>
                    <a:pt x="460869" y="116250"/>
                  </a:lnTo>
                  <a:cubicBezTo>
                    <a:pt x="465859" y="154348"/>
                    <a:pt x="500788" y="181187"/>
                    <a:pt x="538885" y="176197"/>
                  </a:cubicBezTo>
                  <a:cubicBezTo>
                    <a:pt x="553502" y="174283"/>
                    <a:pt x="567135" y="167775"/>
                    <a:pt x="577811" y="157613"/>
                  </a:cubicBezTo>
                  <a:cubicBezTo>
                    <a:pt x="605361" y="130996"/>
                    <a:pt x="606209" y="87117"/>
                    <a:pt x="579709" y="59455"/>
                  </a:cubicBezTo>
                  <a:close/>
                  <a:moveTo>
                    <a:pt x="106059" y="146229"/>
                  </a:moveTo>
                  <a:cubicBezTo>
                    <a:pt x="84736" y="166738"/>
                    <a:pt x="50824" y="166078"/>
                    <a:pt x="30315" y="144754"/>
                  </a:cubicBezTo>
                  <a:cubicBezTo>
                    <a:pt x="9806" y="123432"/>
                    <a:pt x="10466" y="89520"/>
                    <a:pt x="31789" y="69010"/>
                  </a:cubicBezTo>
                  <a:cubicBezTo>
                    <a:pt x="53053" y="48558"/>
                    <a:pt x="86852" y="49150"/>
                    <a:pt x="107387" y="70334"/>
                  </a:cubicBezTo>
                  <a:cubicBezTo>
                    <a:pt x="127982" y="91477"/>
                    <a:pt x="127536" y="125313"/>
                    <a:pt x="106393" y="145907"/>
                  </a:cubicBezTo>
                  <a:cubicBezTo>
                    <a:pt x="106282" y="146014"/>
                    <a:pt x="106171" y="146122"/>
                    <a:pt x="106059" y="146229"/>
                  </a:cubicBezTo>
                  <a:close/>
                  <a:moveTo>
                    <a:pt x="364293" y="175512"/>
                  </a:moveTo>
                  <a:cubicBezTo>
                    <a:pt x="327354" y="211177"/>
                    <a:pt x="268496" y="210145"/>
                    <a:pt x="232831" y="173206"/>
                  </a:cubicBezTo>
                  <a:cubicBezTo>
                    <a:pt x="197166" y="136268"/>
                    <a:pt x="198198" y="77411"/>
                    <a:pt x="235136" y="41745"/>
                  </a:cubicBezTo>
                  <a:cubicBezTo>
                    <a:pt x="272075" y="6079"/>
                    <a:pt x="330932" y="7112"/>
                    <a:pt x="366598" y="44050"/>
                  </a:cubicBezTo>
                  <a:cubicBezTo>
                    <a:pt x="366609" y="44062"/>
                    <a:pt x="366621" y="44074"/>
                    <a:pt x="366633" y="44086"/>
                  </a:cubicBezTo>
                  <a:cubicBezTo>
                    <a:pt x="402284" y="80748"/>
                    <a:pt x="401465" y="139368"/>
                    <a:pt x="364804" y="175019"/>
                  </a:cubicBezTo>
                  <a:cubicBezTo>
                    <a:pt x="364634" y="175183"/>
                    <a:pt x="364463" y="175348"/>
                    <a:pt x="364293" y="175512"/>
                  </a:cubicBezTo>
                  <a:close/>
                  <a:moveTo>
                    <a:pt x="566996" y="146229"/>
                  </a:moveTo>
                  <a:cubicBezTo>
                    <a:pt x="545673" y="166738"/>
                    <a:pt x="511761" y="166078"/>
                    <a:pt x="491252" y="144754"/>
                  </a:cubicBezTo>
                  <a:cubicBezTo>
                    <a:pt x="470743" y="123432"/>
                    <a:pt x="471403" y="89520"/>
                    <a:pt x="492726" y="69010"/>
                  </a:cubicBezTo>
                  <a:cubicBezTo>
                    <a:pt x="513990" y="48558"/>
                    <a:pt x="547789" y="49150"/>
                    <a:pt x="568324" y="70334"/>
                  </a:cubicBezTo>
                  <a:cubicBezTo>
                    <a:pt x="588917" y="91477"/>
                    <a:pt x="588474" y="125313"/>
                    <a:pt x="567331" y="145907"/>
                  </a:cubicBezTo>
                  <a:cubicBezTo>
                    <a:pt x="567218" y="146014"/>
                    <a:pt x="567110" y="146122"/>
                    <a:pt x="566996" y="146229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Picture Placeholder 81">
              <a:extLst>
                <a:ext uri="{FF2B5EF4-FFF2-40B4-BE49-F238E27FC236}">
                  <a16:creationId xmlns:a16="http://schemas.microsoft.com/office/drawing/2014/main" id="{5A1BD0E9-367B-1549-AA07-BF52904C9394}"/>
                </a:ext>
              </a:extLst>
            </p:cNvPr>
            <p:cNvSpPr/>
            <p:nvPr/>
          </p:nvSpPr>
          <p:spPr>
            <a:xfrm>
              <a:off x="10274385" y="1006739"/>
              <a:ext cx="31623" cy="31597"/>
            </a:xfrm>
            <a:custGeom>
              <a:avLst/>
              <a:gdLst>
                <a:gd name="connsiteX0" fmla="*/ 4839 w 31623"/>
                <a:gd name="connsiteY0" fmla="*/ 4401 h 31597"/>
                <a:gd name="connsiteX1" fmla="*/ 4427 w 31623"/>
                <a:gd name="connsiteY1" fmla="*/ 26758 h 31597"/>
                <a:gd name="connsiteX2" fmla="*/ 26784 w 31623"/>
                <a:gd name="connsiteY2" fmla="*/ 27170 h 31597"/>
                <a:gd name="connsiteX3" fmla="*/ 27196 w 31623"/>
                <a:gd name="connsiteY3" fmla="*/ 4813 h 31597"/>
                <a:gd name="connsiteX4" fmla="*/ 27165 w 31623"/>
                <a:gd name="connsiteY4" fmla="*/ 4781 h 31597"/>
                <a:gd name="connsiteX5" fmla="*/ 4839 w 31623"/>
                <a:gd name="connsiteY5" fmla="*/ 4401 h 31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623" h="31597">
                  <a:moveTo>
                    <a:pt x="4839" y="4401"/>
                  </a:moveTo>
                  <a:cubicBezTo>
                    <a:pt x="-1448" y="10461"/>
                    <a:pt x="-1633" y="20471"/>
                    <a:pt x="4427" y="26758"/>
                  </a:cubicBezTo>
                  <a:cubicBezTo>
                    <a:pt x="10487" y="33046"/>
                    <a:pt x="20497" y="33230"/>
                    <a:pt x="26784" y="27170"/>
                  </a:cubicBezTo>
                  <a:cubicBezTo>
                    <a:pt x="33072" y="21110"/>
                    <a:pt x="33256" y="11100"/>
                    <a:pt x="27196" y="4813"/>
                  </a:cubicBezTo>
                  <a:cubicBezTo>
                    <a:pt x="27186" y="4802"/>
                    <a:pt x="27175" y="4791"/>
                    <a:pt x="27165" y="4781"/>
                  </a:cubicBezTo>
                  <a:cubicBezTo>
                    <a:pt x="21084" y="-1443"/>
                    <a:pt x="11127" y="-1612"/>
                    <a:pt x="4839" y="4401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Picture Placeholder 81">
              <a:extLst>
                <a:ext uri="{FF2B5EF4-FFF2-40B4-BE49-F238E27FC236}">
                  <a16:creationId xmlns:a16="http://schemas.microsoft.com/office/drawing/2014/main" id="{F994CB2A-0463-CA43-A4A4-1397231DE185}"/>
                </a:ext>
              </a:extLst>
            </p:cNvPr>
            <p:cNvSpPr/>
            <p:nvPr/>
          </p:nvSpPr>
          <p:spPr>
            <a:xfrm rot="-2700000">
              <a:off x="9999349" y="1005238"/>
              <a:ext cx="126492" cy="31623"/>
            </a:xfrm>
            <a:custGeom>
              <a:avLst/>
              <a:gdLst>
                <a:gd name="connsiteX0" fmla="*/ 0 w 126492"/>
                <a:gd name="connsiteY0" fmla="*/ 0 h 31623"/>
                <a:gd name="connsiteX1" fmla="*/ 126492 w 126492"/>
                <a:gd name="connsiteY1" fmla="*/ 0 h 31623"/>
                <a:gd name="connsiteX2" fmla="*/ 126492 w 126492"/>
                <a:gd name="connsiteY2" fmla="*/ 31623 h 31623"/>
                <a:gd name="connsiteX3" fmla="*/ 0 w 126492"/>
                <a:gd name="connsiteY3" fmla="*/ 31623 h 31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92" h="31623">
                  <a:moveTo>
                    <a:pt x="0" y="0"/>
                  </a:moveTo>
                  <a:lnTo>
                    <a:pt x="126492" y="0"/>
                  </a:lnTo>
                  <a:lnTo>
                    <a:pt x="126492" y="31623"/>
                  </a:lnTo>
                  <a:lnTo>
                    <a:pt x="0" y="31623"/>
                  </a:ln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Picture Placeholder 81">
              <a:extLst>
                <a:ext uri="{FF2B5EF4-FFF2-40B4-BE49-F238E27FC236}">
                  <a16:creationId xmlns:a16="http://schemas.microsoft.com/office/drawing/2014/main" id="{A7692756-64B3-F94E-BDC8-3FA9659C71E5}"/>
                </a:ext>
              </a:extLst>
            </p:cNvPr>
            <p:cNvSpPr/>
            <p:nvPr/>
          </p:nvSpPr>
          <p:spPr>
            <a:xfrm rot="-2700000">
              <a:off x="10046783" y="957740"/>
              <a:ext cx="31623" cy="126492"/>
            </a:xfrm>
            <a:custGeom>
              <a:avLst/>
              <a:gdLst>
                <a:gd name="connsiteX0" fmla="*/ 0 w 31623"/>
                <a:gd name="connsiteY0" fmla="*/ 0 h 126492"/>
                <a:gd name="connsiteX1" fmla="*/ 31623 w 31623"/>
                <a:gd name="connsiteY1" fmla="*/ 0 h 126492"/>
                <a:gd name="connsiteX2" fmla="*/ 31623 w 31623"/>
                <a:gd name="connsiteY2" fmla="*/ 126492 h 126492"/>
                <a:gd name="connsiteX3" fmla="*/ 0 w 31623"/>
                <a:gd name="connsiteY3" fmla="*/ 126492 h 126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623" h="126492">
                  <a:moveTo>
                    <a:pt x="0" y="0"/>
                  </a:moveTo>
                  <a:lnTo>
                    <a:pt x="31623" y="0"/>
                  </a:lnTo>
                  <a:lnTo>
                    <a:pt x="31623" y="126492"/>
                  </a:lnTo>
                  <a:lnTo>
                    <a:pt x="0" y="126492"/>
                  </a:ln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" name="Group 24" descr="Cost-Efficient&#10;">
            <a:extLst>
              <a:ext uri="{FF2B5EF4-FFF2-40B4-BE49-F238E27FC236}">
                <a16:creationId xmlns:a16="http://schemas.microsoft.com/office/drawing/2014/main" id="{56711AA8-E6B8-4544-867E-19089A2DA6AD}"/>
              </a:ext>
            </a:extLst>
          </p:cNvPr>
          <p:cNvGrpSpPr/>
          <p:nvPr/>
        </p:nvGrpSpPr>
        <p:grpSpPr>
          <a:xfrm>
            <a:off x="5267363" y="2471155"/>
            <a:ext cx="601216" cy="601216"/>
            <a:chOff x="4491788" y="3175683"/>
            <a:chExt cx="601216" cy="601216"/>
          </a:xfrm>
        </p:grpSpPr>
        <p:sp>
          <p:nvSpPr>
            <p:cNvPr id="26" name="Picture Placeholder 95">
              <a:extLst>
                <a:ext uri="{FF2B5EF4-FFF2-40B4-BE49-F238E27FC236}">
                  <a16:creationId xmlns:a16="http://schemas.microsoft.com/office/drawing/2014/main" id="{10272633-AFBD-5B4D-92EA-CFCAA3D5C94F}"/>
                </a:ext>
              </a:extLst>
            </p:cNvPr>
            <p:cNvSpPr/>
            <p:nvPr/>
          </p:nvSpPr>
          <p:spPr>
            <a:xfrm>
              <a:off x="4491788" y="3232098"/>
              <a:ext cx="94110" cy="152549"/>
            </a:xfrm>
            <a:custGeom>
              <a:avLst/>
              <a:gdLst>
                <a:gd name="connsiteX0" fmla="*/ 54328 w 94110"/>
                <a:gd name="connsiteY0" fmla="*/ 140849 h 152549"/>
                <a:gd name="connsiteX1" fmla="*/ 54328 w 94110"/>
                <a:gd name="connsiteY1" fmla="*/ 152549 h 152549"/>
                <a:gd name="connsiteX2" fmla="*/ 39971 w 94110"/>
                <a:gd name="connsiteY2" fmla="*/ 152549 h 152549"/>
                <a:gd name="connsiteX3" fmla="*/ 39971 w 94110"/>
                <a:gd name="connsiteY3" fmla="*/ 140849 h 152549"/>
                <a:gd name="connsiteX4" fmla="*/ 0 w 94110"/>
                <a:gd name="connsiteY4" fmla="*/ 121369 h 152549"/>
                <a:gd name="connsiteX5" fmla="*/ 8981 w 94110"/>
                <a:gd name="connsiteY5" fmla="*/ 110175 h 152549"/>
                <a:gd name="connsiteX6" fmla="*/ 39971 w 94110"/>
                <a:gd name="connsiteY6" fmla="*/ 127441 h 152549"/>
                <a:gd name="connsiteX7" fmla="*/ 39971 w 94110"/>
                <a:gd name="connsiteY7" fmla="*/ 80892 h 152549"/>
                <a:gd name="connsiteX8" fmla="*/ 4427 w 94110"/>
                <a:gd name="connsiteY8" fmla="*/ 46802 h 152549"/>
                <a:gd name="connsiteX9" fmla="*/ 39971 w 94110"/>
                <a:gd name="connsiteY9" fmla="*/ 11195 h 152549"/>
                <a:gd name="connsiteX10" fmla="*/ 39971 w 94110"/>
                <a:gd name="connsiteY10" fmla="*/ 0 h 152549"/>
                <a:gd name="connsiteX11" fmla="*/ 54328 w 94110"/>
                <a:gd name="connsiteY11" fmla="*/ 0 h 152549"/>
                <a:gd name="connsiteX12" fmla="*/ 54328 w 94110"/>
                <a:gd name="connsiteY12" fmla="*/ 11195 h 152549"/>
                <a:gd name="connsiteX13" fmla="*/ 90821 w 94110"/>
                <a:gd name="connsiteY13" fmla="*/ 28777 h 152549"/>
                <a:gd name="connsiteX14" fmla="*/ 82030 w 94110"/>
                <a:gd name="connsiteY14" fmla="*/ 39971 h 152549"/>
                <a:gd name="connsiteX15" fmla="*/ 54328 w 94110"/>
                <a:gd name="connsiteY15" fmla="*/ 24792 h 152549"/>
                <a:gd name="connsiteX16" fmla="*/ 54328 w 94110"/>
                <a:gd name="connsiteY16" fmla="*/ 69065 h 152549"/>
                <a:gd name="connsiteX17" fmla="*/ 94110 w 94110"/>
                <a:gd name="connsiteY17" fmla="*/ 105178 h 152549"/>
                <a:gd name="connsiteX18" fmla="*/ 54328 w 94110"/>
                <a:gd name="connsiteY18" fmla="*/ 140849 h 152549"/>
                <a:gd name="connsiteX19" fmla="*/ 39971 w 94110"/>
                <a:gd name="connsiteY19" fmla="*/ 64954 h 152549"/>
                <a:gd name="connsiteX20" fmla="*/ 39971 w 94110"/>
                <a:gd name="connsiteY20" fmla="*/ 24413 h 152549"/>
                <a:gd name="connsiteX21" fmla="*/ 18911 w 94110"/>
                <a:gd name="connsiteY21" fmla="*/ 45980 h 152549"/>
                <a:gd name="connsiteX22" fmla="*/ 39971 w 94110"/>
                <a:gd name="connsiteY22" fmla="*/ 64954 h 152549"/>
                <a:gd name="connsiteX23" fmla="*/ 79627 w 94110"/>
                <a:gd name="connsiteY23" fmla="*/ 106190 h 152549"/>
                <a:gd name="connsiteX24" fmla="*/ 54328 w 94110"/>
                <a:gd name="connsiteY24" fmla="*/ 84560 h 152549"/>
                <a:gd name="connsiteX25" fmla="*/ 54328 w 94110"/>
                <a:gd name="connsiteY25" fmla="*/ 128200 h 152549"/>
                <a:gd name="connsiteX26" fmla="*/ 79627 w 94110"/>
                <a:gd name="connsiteY26" fmla="*/ 106190 h 1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4110" h="152549">
                  <a:moveTo>
                    <a:pt x="54328" y="140849"/>
                  </a:moveTo>
                  <a:lnTo>
                    <a:pt x="54328" y="152549"/>
                  </a:lnTo>
                  <a:lnTo>
                    <a:pt x="39971" y="152549"/>
                  </a:lnTo>
                  <a:lnTo>
                    <a:pt x="39971" y="140849"/>
                  </a:lnTo>
                  <a:cubicBezTo>
                    <a:pt x="24831" y="139053"/>
                    <a:pt x="10744" y="132187"/>
                    <a:pt x="0" y="121369"/>
                  </a:cubicBezTo>
                  <a:lnTo>
                    <a:pt x="8981" y="110175"/>
                  </a:lnTo>
                  <a:cubicBezTo>
                    <a:pt x="17278" y="118995"/>
                    <a:pt x="28105" y="125028"/>
                    <a:pt x="39971" y="127441"/>
                  </a:cubicBezTo>
                  <a:lnTo>
                    <a:pt x="39971" y="80892"/>
                  </a:lnTo>
                  <a:cubicBezTo>
                    <a:pt x="17962" y="75199"/>
                    <a:pt x="4427" y="66978"/>
                    <a:pt x="4427" y="46802"/>
                  </a:cubicBezTo>
                  <a:cubicBezTo>
                    <a:pt x="4427" y="28461"/>
                    <a:pt x="19290" y="13788"/>
                    <a:pt x="39971" y="11195"/>
                  </a:cubicBezTo>
                  <a:lnTo>
                    <a:pt x="39971" y="0"/>
                  </a:lnTo>
                  <a:lnTo>
                    <a:pt x="54328" y="0"/>
                  </a:lnTo>
                  <a:lnTo>
                    <a:pt x="54328" y="11195"/>
                  </a:lnTo>
                  <a:cubicBezTo>
                    <a:pt x="68073" y="12959"/>
                    <a:pt x="80876" y="19127"/>
                    <a:pt x="90821" y="28777"/>
                  </a:cubicBezTo>
                  <a:lnTo>
                    <a:pt x="82030" y="39971"/>
                  </a:lnTo>
                  <a:cubicBezTo>
                    <a:pt x="74463" y="32334"/>
                    <a:pt x="64839" y="27060"/>
                    <a:pt x="54328" y="24792"/>
                  </a:cubicBezTo>
                  <a:lnTo>
                    <a:pt x="54328" y="69065"/>
                  </a:lnTo>
                  <a:cubicBezTo>
                    <a:pt x="77603" y="74757"/>
                    <a:pt x="94110" y="83358"/>
                    <a:pt x="94110" y="105178"/>
                  </a:cubicBezTo>
                  <a:cubicBezTo>
                    <a:pt x="94110" y="123836"/>
                    <a:pt x="80702" y="139457"/>
                    <a:pt x="54328" y="140849"/>
                  </a:cubicBezTo>
                  <a:close/>
                  <a:moveTo>
                    <a:pt x="39971" y="64954"/>
                  </a:moveTo>
                  <a:lnTo>
                    <a:pt x="39971" y="24413"/>
                  </a:lnTo>
                  <a:cubicBezTo>
                    <a:pt x="28627" y="25496"/>
                    <a:pt x="19724" y="34613"/>
                    <a:pt x="18911" y="45980"/>
                  </a:cubicBezTo>
                  <a:cubicBezTo>
                    <a:pt x="18911" y="55783"/>
                    <a:pt x="26437" y="60906"/>
                    <a:pt x="39971" y="64954"/>
                  </a:cubicBezTo>
                  <a:close/>
                  <a:moveTo>
                    <a:pt x="79627" y="106190"/>
                  </a:moveTo>
                  <a:cubicBezTo>
                    <a:pt x="79627" y="94679"/>
                    <a:pt x="70836" y="89177"/>
                    <a:pt x="54328" y="84560"/>
                  </a:cubicBezTo>
                  <a:lnTo>
                    <a:pt x="54328" y="128200"/>
                  </a:lnTo>
                  <a:cubicBezTo>
                    <a:pt x="71025" y="126745"/>
                    <a:pt x="79627" y="116879"/>
                    <a:pt x="79627" y="106190"/>
                  </a:cubicBezTo>
                  <a:close/>
                </a:path>
              </a:pathLst>
            </a:custGeom>
            <a:solidFill>
              <a:schemeClr val="accent2"/>
            </a:solidFill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Picture Placeholder 95">
              <a:extLst>
                <a:ext uri="{FF2B5EF4-FFF2-40B4-BE49-F238E27FC236}">
                  <a16:creationId xmlns:a16="http://schemas.microsoft.com/office/drawing/2014/main" id="{51E5EDB3-B4A3-0A44-825B-C1A2C862A32D}"/>
                </a:ext>
              </a:extLst>
            </p:cNvPr>
            <p:cNvSpPr/>
            <p:nvPr/>
          </p:nvSpPr>
          <p:spPr>
            <a:xfrm>
              <a:off x="4492167" y="3175683"/>
              <a:ext cx="600837" cy="601216"/>
            </a:xfrm>
            <a:custGeom>
              <a:avLst/>
              <a:gdLst>
                <a:gd name="connsiteX0" fmla="*/ 600837 w 600837"/>
                <a:gd name="connsiteY0" fmla="*/ 0 h 601216"/>
                <a:gd name="connsiteX1" fmla="*/ 0 w 600837"/>
                <a:gd name="connsiteY1" fmla="*/ 0 h 601216"/>
                <a:gd name="connsiteX2" fmla="*/ 0 w 600837"/>
                <a:gd name="connsiteY2" fmla="*/ 44272 h 601216"/>
                <a:gd name="connsiteX3" fmla="*/ 15812 w 600837"/>
                <a:gd name="connsiteY3" fmla="*/ 44272 h 601216"/>
                <a:gd name="connsiteX4" fmla="*/ 15812 w 600837"/>
                <a:gd name="connsiteY4" fmla="*/ 15812 h 601216"/>
                <a:gd name="connsiteX5" fmla="*/ 585026 w 600837"/>
                <a:gd name="connsiteY5" fmla="*/ 15812 h 601216"/>
                <a:gd name="connsiteX6" fmla="*/ 585026 w 600837"/>
                <a:gd name="connsiteY6" fmla="*/ 585026 h 601216"/>
                <a:gd name="connsiteX7" fmla="*/ 220286 w 600837"/>
                <a:gd name="connsiteY7" fmla="*/ 585026 h 601216"/>
                <a:gd name="connsiteX8" fmla="*/ 366321 w 600837"/>
                <a:gd name="connsiteY8" fmla="*/ 438927 h 601216"/>
                <a:gd name="connsiteX9" fmla="*/ 381626 w 600837"/>
                <a:gd name="connsiteY9" fmla="*/ 454233 h 601216"/>
                <a:gd name="connsiteX10" fmla="*/ 396932 w 600837"/>
                <a:gd name="connsiteY10" fmla="*/ 397311 h 601216"/>
                <a:gd name="connsiteX11" fmla="*/ 340011 w 600837"/>
                <a:gd name="connsiteY11" fmla="*/ 412617 h 601216"/>
                <a:gd name="connsiteX12" fmla="*/ 355316 w 600837"/>
                <a:gd name="connsiteY12" fmla="*/ 427922 h 601216"/>
                <a:gd name="connsiteX13" fmla="*/ 197897 w 600837"/>
                <a:gd name="connsiteY13" fmla="*/ 585026 h 601216"/>
                <a:gd name="connsiteX14" fmla="*/ 28081 w 600837"/>
                <a:gd name="connsiteY14" fmla="*/ 585026 h 601216"/>
                <a:gd name="connsiteX15" fmla="*/ 359364 w 600837"/>
                <a:gd name="connsiteY15" fmla="*/ 253743 h 601216"/>
                <a:gd name="connsiteX16" fmla="*/ 374669 w 600837"/>
                <a:gd name="connsiteY16" fmla="*/ 269048 h 601216"/>
                <a:gd name="connsiteX17" fmla="*/ 389975 w 600837"/>
                <a:gd name="connsiteY17" fmla="*/ 212127 h 601216"/>
                <a:gd name="connsiteX18" fmla="*/ 333053 w 600837"/>
                <a:gd name="connsiteY18" fmla="*/ 227433 h 601216"/>
                <a:gd name="connsiteX19" fmla="*/ 348359 w 600837"/>
                <a:gd name="connsiteY19" fmla="*/ 242738 h 601216"/>
                <a:gd name="connsiteX20" fmla="*/ 16001 w 600837"/>
                <a:gd name="connsiteY20" fmla="*/ 574716 h 601216"/>
                <a:gd name="connsiteX21" fmla="*/ 16001 w 600837"/>
                <a:gd name="connsiteY21" fmla="*/ 408569 h 601216"/>
                <a:gd name="connsiteX22" fmla="*/ 17582 w 600837"/>
                <a:gd name="connsiteY22" fmla="*/ 407494 h 601216"/>
                <a:gd name="connsiteX23" fmla="*/ 182022 w 600837"/>
                <a:gd name="connsiteY23" fmla="*/ 243054 h 601216"/>
                <a:gd name="connsiteX24" fmla="*/ 197328 w 600837"/>
                <a:gd name="connsiteY24" fmla="*/ 258360 h 601216"/>
                <a:gd name="connsiteX25" fmla="*/ 212633 w 600837"/>
                <a:gd name="connsiteY25" fmla="*/ 201439 h 601216"/>
                <a:gd name="connsiteX26" fmla="*/ 155712 w 600837"/>
                <a:gd name="connsiteY26" fmla="*/ 216744 h 601216"/>
                <a:gd name="connsiteX27" fmla="*/ 170764 w 600837"/>
                <a:gd name="connsiteY27" fmla="*/ 232113 h 601216"/>
                <a:gd name="connsiteX28" fmla="*/ 16001 w 600837"/>
                <a:gd name="connsiteY28" fmla="*/ 387002 h 601216"/>
                <a:gd name="connsiteX29" fmla="*/ 16001 w 600837"/>
                <a:gd name="connsiteY29" fmla="*/ 247861 h 601216"/>
                <a:gd name="connsiteX30" fmla="*/ 0 w 600837"/>
                <a:gd name="connsiteY30" fmla="*/ 247861 h 601216"/>
                <a:gd name="connsiteX31" fmla="*/ 0 w 600837"/>
                <a:gd name="connsiteY31" fmla="*/ 601027 h 601216"/>
                <a:gd name="connsiteX32" fmla="*/ 199794 w 600837"/>
                <a:gd name="connsiteY32" fmla="*/ 601027 h 601216"/>
                <a:gd name="connsiteX33" fmla="*/ 202071 w 600837"/>
                <a:gd name="connsiteY33" fmla="*/ 601027 h 601216"/>
                <a:gd name="connsiteX34" fmla="*/ 600837 w 600837"/>
                <a:gd name="connsiteY34" fmla="*/ 601027 h 60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0837" h="601216">
                  <a:moveTo>
                    <a:pt x="600837" y="0"/>
                  </a:moveTo>
                  <a:lnTo>
                    <a:pt x="0" y="0"/>
                  </a:lnTo>
                  <a:lnTo>
                    <a:pt x="0" y="44272"/>
                  </a:lnTo>
                  <a:lnTo>
                    <a:pt x="15812" y="44272"/>
                  </a:lnTo>
                  <a:lnTo>
                    <a:pt x="15812" y="15812"/>
                  </a:lnTo>
                  <a:lnTo>
                    <a:pt x="585026" y="15812"/>
                  </a:lnTo>
                  <a:lnTo>
                    <a:pt x="585026" y="585026"/>
                  </a:lnTo>
                  <a:lnTo>
                    <a:pt x="220286" y="585026"/>
                  </a:lnTo>
                  <a:lnTo>
                    <a:pt x="366321" y="438927"/>
                  </a:lnTo>
                  <a:lnTo>
                    <a:pt x="381626" y="454233"/>
                  </a:lnTo>
                  <a:lnTo>
                    <a:pt x="396932" y="397311"/>
                  </a:lnTo>
                  <a:lnTo>
                    <a:pt x="340011" y="412617"/>
                  </a:lnTo>
                  <a:lnTo>
                    <a:pt x="355316" y="427922"/>
                  </a:lnTo>
                  <a:lnTo>
                    <a:pt x="197897" y="585026"/>
                  </a:lnTo>
                  <a:lnTo>
                    <a:pt x="28081" y="585026"/>
                  </a:lnTo>
                  <a:lnTo>
                    <a:pt x="359364" y="253743"/>
                  </a:lnTo>
                  <a:lnTo>
                    <a:pt x="374669" y="269048"/>
                  </a:lnTo>
                  <a:lnTo>
                    <a:pt x="389975" y="212127"/>
                  </a:lnTo>
                  <a:lnTo>
                    <a:pt x="333053" y="227433"/>
                  </a:lnTo>
                  <a:lnTo>
                    <a:pt x="348359" y="242738"/>
                  </a:lnTo>
                  <a:lnTo>
                    <a:pt x="16001" y="574716"/>
                  </a:lnTo>
                  <a:lnTo>
                    <a:pt x="16001" y="408569"/>
                  </a:lnTo>
                  <a:cubicBezTo>
                    <a:pt x="16588" y="408308"/>
                    <a:pt x="17124" y="407944"/>
                    <a:pt x="17582" y="407494"/>
                  </a:cubicBezTo>
                  <a:lnTo>
                    <a:pt x="182022" y="243054"/>
                  </a:lnTo>
                  <a:lnTo>
                    <a:pt x="197328" y="258360"/>
                  </a:lnTo>
                  <a:lnTo>
                    <a:pt x="212633" y="201439"/>
                  </a:lnTo>
                  <a:lnTo>
                    <a:pt x="155712" y="216744"/>
                  </a:lnTo>
                  <a:lnTo>
                    <a:pt x="170764" y="232113"/>
                  </a:lnTo>
                  <a:lnTo>
                    <a:pt x="16001" y="387002"/>
                  </a:lnTo>
                  <a:lnTo>
                    <a:pt x="16001" y="247861"/>
                  </a:lnTo>
                  <a:lnTo>
                    <a:pt x="0" y="247861"/>
                  </a:lnTo>
                  <a:lnTo>
                    <a:pt x="0" y="601027"/>
                  </a:lnTo>
                  <a:lnTo>
                    <a:pt x="199794" y="601027"/>
                  </a:lnTo>
                  <a:cubicBezTo>
                    <a:pt x="200532" y="601280"/>
                    <a:pt x="201334" y="601280"/>
                    <a:pt x="202071" y="601027"/>
                  </a:cubicBezTo>
                  <a:lnTo>
                    <a:pt x="600837" y="601027"/>
                  </a:lnTo>
                  <a:close/>
                </a:path>
              </a:pathLst>
            </a:custGeom>
            <a:solidFill>
              <a:schemeClr val="accent2"/>
            </a:solidFill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" name="Group 27" descr="Management 1&#10;">
            <a:extLst>
              <a:ext uri="{FF2B5EF4-FFF2-40B4-BE49-F238E27FC236}">
                <a16:creationId xmlns:a16="http://schemas.microsoft.com/office/drawing/2014/main" id="{4BE3B75B-DF5C-9B4D-AA09-F6C0E7472962}"/>
              </a:ext>
            </a:extLst>
          </p:cNvPr>
          <p:cNvGrpSpPr/>
          <p:nvPr/>
        </p:nvGrpSpPr>
        <p:grpSpPr>
          <a:xfrm>
            <a:off x="5270715" y="1598190"/>
            <a:ext cx="594512" cy="521226"/>
            <a:chOff x="11074934" y="4497542"/>
            <a:chExt cx="594512" cy="521226"/>
          </a:xfrm>
          <a:solidFill>
            <a:srgbClr val="7030A0"/>
          </a:solidFill>
        </p:grpSpPr>
        <p:sp>
          <p:nvSpPr>
            <p:cNvPr id="29" name="Picture Placeholder 120">
              <a:extLst>
                <a:ext uri="{FF2B5EF4-FFF2-40B4-BE49-F238E27FC236}">
                  <a16:creationId xmlns:a16="http://schemas.microsoft.com/office/drawing/2014/main" id="{F93D0030-B859-9147-AD75-D3B89C5513CC}"/>
                </a:ext>
              </a:extLst>
            </p:cNvPr>
            <p:cNvSpPr/>
            <p:nvPr/>
          </p:nvSpPr>
          <p:spPr>
            <a:xfrm>
              <a:off x="11262562" y="4894421"/>
              <a:ext cx="219347" cy="124347"/>
            </a:xfrm>
            <a:custGeom>
              <a:avLst/>
              <a:gdLst>
                <a:gd name="connsiteX0" fmla="*/ 206647 w 219347"/>
                <a:gd name="connsiteY0" fmla="*/ 124347 h 124347"/>
                <a:gd name="connsiteX1" fmla="*/ 12608 w 219347"/>
                <a:gd name="connsiteY1" fmla="*/ 124347 h 124347"/>
                <a:gd name="connsiteX2" fmla="*/ 592 w 219347"/>
                <a:gd name="connsiteY2" fmla="*/ 115411 h 124347"/>
                <a:gd name="connsiteX3" fmla="*/ 5651 w 219347"/>
                <a:gd name="connsiteY3" fmla="*/ 101024 h 124347"/>
                <a:gd name="connsiteX4" fmla="*/ 51694 w 219347"/>
                <a:gd name="connsiteY4" fmla="*/ 79983 h 124347"/>
                <a:gd name="connsiteX5" fmla="*/ 62130 w 219347"/>
                <a:gd name="connsiteY5" fmla="*/ 0 h 124347"/>
                <a:gd name="connsiteX6" fmla="*/ 77815 w 219347"/>
                <a:gd name="connsiteY6" fmla="*/ 2091 h 124347"/>
                <a:gd name="connsiteX7" fmla="*/ 65988 w 219347"/>
                <a:gd name="connsiteY7" fmla="*/ 91454 h 124347"/>
                <a:gd name="connsiteX8" fmla="*/ 61561 w 219347"/>
                <a:gd name="connsiteY8" fmla="*/ 93165 h 124347"/>
                <a:gd name="connsiteX9" fmla="*/ 24752 w 219347"/>
                <a:gd name="connsiteY9" fmla="*/ 108503 h 124347"/>
                <a:gd name="connsiteX10" fmla="*/ 194504 w 219347"/>
                <a:gd name="connsiteY10" fmla="*/ 108503 h 124347"/>
                <a:gd name="connsiteX11" fmla="*/ 157632 w 219347"/>
                <a:gd name="connsiteY11" fmla="*/ 93165 h 124347"/>
                <a:gd name="connsiteX12" fmla="*/ 152951 w 219347"/>
                <a:gd name="connsiteY12" fmla="*/ 91454 h 124347"/>
                <a:gd name="connsiteX13" fmla="*/ 144350 w 219347"/>
                <a:gd name="connsiteY13" fmla="*/ 1775 h 124347"/>
                <a:gd name="connsiteX14" fmla="*/ 160098 w 219347"/>
                <a:gd name="connsiteY14" fmla="*/ 253 h 124347"/>
                <a:gd name="connsiteX15" fmla="*/ 167688 w 219347"/>
                <a:gd name="connsiteY15" fmla="*/ 80046 h 124347"/>
                <a:gd name="connsiteX16" fmla="*/ 213920 w 219347"/>
                <a:gd name="connsiteY16" fmla="*/ 101151 h 124347"/>
                <a:gd name="connsiteX17" fmla="*/ 218727 w 219347"/>
                <a:gd name="connsiteY17" fmla="*/ 115474 h 124347"/>
                <a:gd name="connsiteX18" fmla="*/ 206647 w 219347"/>
                <a:gd name="connsiteY18" fmla="*/ 124347 h 12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9347" h="124347">
                  <a:moveTo>
                    <a:pt x="206647" y="124347"/>
                  </a:moveTo>
                  <a:lnTo>
                    <a:pt x="12608" y="124347"/>
                  </a:lnTo>
                  <a:cubicBezTo>
                    <a:pt x="7086" y="124316"/>
                    <a:pt x="2221" y="120697"/>
                    <a:pt x="592" y="115411"/>
                  </a:cubicBezTo>
                  <a:cubicBezTo>
                    <a:pt x="-1112" y="110024"/>
                    <a:pt x="952" y="104155"/>
                    <a:pt x="5651" y="101024"/>
                  </a:cubicBezTo>
                  <a:cubicBezTo>
                    <a:pt x="20419" y="92798"/>
                    <a:pt x="35815" y="85763"/>
                    <a:pt x="51694" y="79983"/>
                  </a:cubicBezTo>
                  <a:lnTo>
                    <a:pt x="62130" y="0"/>
                  </a:lnTo>
                  <a:lnTo>
                    <a:pt x="77815" y="2091"/>
                  </a:lnTo>
                  <a:lnTo>
                    <a:pt x="65988" y="91454"/>
                  </a:lnTo>
                  <a:lnTo>
                    <a:pt x="61561" y="93165"/>
                  </a:lnTo>
                  <a:cubicBezTo>
                    <a:pt x="54098" y="95954"/>
                    <a:pt x="36895" y="102735"/>
                    <a:pt x="24752" y="108503"/>
                  </a:cubicBezTo>
                  <a:lnTo>
                    <a:pt x="194504" y="108503"/>
                  </a:lnTo>
                  <a:cubicBezTo>
                    <a:pt x="182424" y="102735"/>
                    <a:pt x="165095" y="95827"/>
                    <a:pt x="157632" y="93165"/>
                  </a:cubicBezTo>
                  <a:lnTo>
                    <a:pt x="152951" y="91454"/>
                  </a:lnTo>
                  <a:lnTo>
                    <a:pt x="144350" y="1775"/>
                  </a:lnTo>
                  <a:lnTo>
                    <a:pt x="160098" y="253"/>
                  </a:lnTo>
                  <a:lnTo>
                    <a:pt x="167688" y="80046"/>
                  </a:lnTo>
                  <a:cubicBezTo>
                    <a:pt x="183661" y="85769"/>
                    <a:pt x="199127" y="92829"/>
                    <a:pt x="213920" y="101151"/>
                  </a:cubicBezTo>
                  <a:cubicBezTo>
                    <a:pt x="218498" y="104339"/>
                    <a:pt x="220451" y="110163"/>
                    <a:pt x="218727" y="115474"/>
                  </a:cubicBezTo>
                  <a:cubicBezTo>
                    <a:pt x="217068" y="120760"/>
                    <a:pt x="212176" y="124354"/>
                    <a:pt x="206647" y="124347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Picture Placeholder 120">
              <a:extLst>
                <a:ext uri="{FF2B5EF4-FFF2-40B4-BE49-F238E27FC236}">
                  <a16:creationId xmlns:a16="http://schemas.microsoft.com/office/drawing/2014/main" id="{538BEFDD-CF53-884F-BBFF-BF373F00C686}"/>
                </a:ext>
              </a:extLst>
            </p:cNvPr>
            <p:cNvSpPr/>
            <p:nvPr/>
          </p:nvSpPr>
          <p:spPr>
            <a:xfrm>
              <a:off x="11074934" y="4497542"/>
              <a:ext cx="594512" cy="380344"/>
            </a:xfrm>
            <a:custGeom>
              <a:avLst/>
              <a:gdLst>
                <a:gd name="connsiteX0" fmla="*/ 562257 w 594512"/>
                <a:gd name="connsiteY0" fmla="*/ 15852 h 380344"/>
                <a:gd name="connsiteX1" fmla="*/ 578701 w 594512"/>
                <a:gd name="connsiteY1" fmla="*/ 30999 h 380344"/>
                <a:gd name="connsiteX2" fmla="*/ 578701 w 594512"/>
                <a:gd name="connsiteY2" fmla="*/ 350613 h 380344"/>
                <a:gd name="connsiteX3" fmla="*/ 563585 w 594512"/>
                <a:gd name="connsiteY3" fmla="*/ 364430 h 380344"/>
                <a:gd name="connsiteX4" fmla="*/ 29852 w 594512"/>
                <a:gd name="connsiteY4" fmla="*/ 364430 h 380344"/>
                <a:gd name="connsiteX5" fmla="*/ 15812 w 594512"/>
                <a:gd name="connsiteY5" fmla="*/ 351754 h 380344"/>
                <a:gd name="connsiteX6" fmla="*/ 15812 w 594512"/>
                <a:gd name="connsiteY6" fmla="*/ 28527 h 380344"/>
                <a:gd name="connsiteX7" fmla="*/ 29662 w 594512"/>
                <a:gd name="connsiteY7" fmla="*/ 15852 h 380344"/>
                <a:gd name="connsiteX8" fmla="*/ 562257 w 594512"/>
                <a:gd name="connsiteY8" fmla="*/ 15852 h 380344"/>
                <a:gd name="connsiteX9" fmla="*/ 562257 w 594512"/>
                <a:gd name="connsiteY9" fmla="*/ 7 h 380344"/>
                <a:gd name="connsiteX10" fmla="*/ 29662 w 594512"/>
                <a:gd name="connsiteY10" fmla="*/ 7 h 380344"/>
                <a:gd name="connsiteX11" fmla="*/ 0 w 594512"/>
                <a:gd name="connsiteY11" fmla="*/ 28450 h 380344"/>
                <a:gd name="connsiteX12" fmla="*/ 0 w 594512"/>
                <a:gd name="connsiteY12" fmla="*/ 28464 h 380344"/>
                <a:gd name="connsiteX13" fmla="*/ 0 w 594512"/>
                <a:gd name="connsiteY13" fmla="*/ 351691 h 380344"/>
                <a:gd name="connsiteX14" fmla="*/ 29852 w 594512"/>
                <a:gd name="connsiteY14" fmla="*/ 380338 h 380344"/>
                <a:gd name="connsiteX15" fmla="*/ 563585 w 594512"/>
                <a:gd name="connsiteY15" fmla="*/ 380338 h 380344"/>
                <a:gd name="connsiteX16" fmla="*/ 594512 w 594512"/>
                <a:gd name="connsiteY16" fmla="*/ 350627 h 380344"/>
                <a:gd name="connsiteX17" fmla="*/ 594512 w 594512"/>
                <a:gd name="connsiteY17" fmla="*/ 350613 h 380344"/>
                <a:gd name="connsiteX18" fmla="*/ 594512 w 594512"/>
                <a:gd name="connsiteY18" fmla="*/ 30999 h 380344"/>
                <a:gd name="connsiteX19" fmla="*/ 562257 w 594512"/>
                <a:gd name="connsiteY19" fmla="*/ 7 h 38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4512" h="380344">
                  <a:moveTo>
                    <a:pt x="562257" y="15852"/>
                  </a:moveTo>
                  <a:cubicBezTo>
                    <a:pt x="570953" y="15529"/>
                    <a:pt x="578290" y="22286"/>
                    <a:pt x="578701" y="30999"/>
                  </a:cubicBezTo>
                  <a:lnTo>
                    <a:pt x="578701" y="350613"/>
                  </a:lnTo>
                  <a:cubicBezTo>
                    <a:pt x="578328" y="358607"/>
                    <a:pt x="571560" y="364788"/>
                    <a:pt x="563585" y="364430"/>
                  </a:cubicBezTo>
                  <a:lnTo>
                    <a:pt x="29852" y="364430"/>
                  </a:lnTo>
                  <a:cubicBezTo>
                    <a:pt x="22504" y="364754"/>
                    <a:pt x="16254" y="359112"/>
                    <a:pt x="15812" y="351754"/>
                  </a:cubicBezTo>
                  <a:lnTo>
                    <a:pt x="15812" y="28527"/>
                  </a:lnTo>
                  <a:cubicBezTo>
                    <a:pt x="16153" y="21199"/>
                    <a:pt x="22348" y="15529"/>
                    <a:pt x="29662" y="15852"/>
                  </a:cubicBezTo>
                  <a:lnTo>
                    <a:pt x="562257" y="15852"/>
                  </a:lnTo>
                  <a:moveTo>
                    <a:pt x="562257" y="7"/>
                  </a:moveTo>
                  <a:lnTo>
                    <a:pt x="29662" y="7"/>
                  </a:lnTo>
                  <a:cubicBezTo>
                    <a:pt x="13633" y="-346"/>
                    <a:pt x="354" y="12387"/>
                    <a:pt x="0" y="28450"/>
                  </a:cubicBezTo>
                  <a:cubicBezTo>
                    <a:pt x="0" y="28454"/>
                    <a:pt x="0" y="28459"/>
                    <a:pt x="0" y="28464"/>
                  </a:cubicBezTo>
                  <a:lnTo>
                    <a:pt x="0" y="351691"/>
                  </a:lnTo>
                  <a:cubicBezTo>
                    <a:pt x="380" y="367848"/>
                    <a:pt x="13727" y="380656"/>
                    <a:pt x="29852" y="380338"/>
                  </a:cubicBezTo>
                  <a:lnTo>
                    <a:pt x="563585" y="380338"/>
                  </a:lnTo>
                  <a:cubicBezTo>
                    <a:pt x="580314" y="380691"/>
                    <a:pt x="594158" y="367389"/>
                    <a:pt x="594512" y="350627"/>
                  </a:cubicBezTo>
                  <a:cubicBezTo>
                    <a:pt x="594512" y="350622"/>
                    <a:pt x="594512" y="350618"/>
                    <a:pt x="594512" y="350613"/>
                  </a:cubicBezTo>
                  <a:lnTo>
                    <a:pt x="594512" y="30999"/>
                  </a:lnTo>
                  <a:cubicBezTo>
                    <a:pt x="594133" y="13521"/>
                    <a:pt x="579700" y="-346"/>
                    <a:pt x="562257" y="7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Picture Placeholder 120">
              <a:extLst>
                <a:ext uri="{FF2B5EF4-FFF2-40B4-BE49-F238E27FC236}">
                  <a16:creationId xmlns:a16="http://schemas.microsoft.com/office/drawing/2014/main" id="{DCE17C37-8769-BF4A-AA90-16BB9F6EC48D}"/>
                </a:ext>
              </a:extLst>
            </p:cNvPr>
            <p:cNvSpPr/>
            <p:nvPr/>
          </p:nvSpPr>
          <p:spPr>
            <a:xfrm>
              <a:off x="11137547" y="4827367"/>
              <a:ext cx="469348" cy="15844"/>
            </a:xfrm>
            <a:custGeom>
              <a:avLst/>
              <a:gdLst>
                <a:gd name="connsiteX0" fmla="*/ 0 w 469348"/>
                <a:gd name="connsiteY0" fmla="*/ 0 h 15844"/>
                <a:gd name="connsiteX1" fmla="*/ 469349 w 469348"/>
                <a:gd name="connsiteY1" fmla="*/ 0 h 15844"/>
                <a:gd name="connsiteX2" fmla="*/ 469349 w 469348"/>
                <a:gd name="connsiteY2" fmla="*/ 15844 h 15844"/>
                <a:gd name="connsiteX3" fmla="*/ 0 w 469348"/>
                <a:gd name="connsiteY3" fmla="*/ 15844 h 1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348" h="15844">
                  <a:moveTo>
                    <a:pt x="0" y="0"/>
                  </a:moveTo>
                  <a:lnTo>
                    <a:pt x="469349" y="0"/>
                  </a:lnTo>
                  <a:lnTo>
                    <a:pt x="469349" y="15844"/>
                  </a:lnTo>
                  <a:lnTo>
                    <a:pt x="0" y="15844"/>
                  </a:ln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Picture Placeholder 120">
              <a:extLst>
                <a:ext uri="{FF2B5EF4-FFF2-40B4-BE49-F238E27FC236}">
                  <a16:creationId xmlns:a16="http://schemas.microsoft.com/office/drawing/2014/main" id="{B8EB62B8-F4C1-4441-BC9E-CEDBBE98CDE4}"/>
                </a:ext>
              </a:extLst>
            </p:cNvPr>
            <p:cNvSpPr/>
            <p:nvPr/>
          </p:nvSpPr>
          <p:spPr>
            <a:xfrm>
              <a:off x="11422281" y="4576645"/>
              <a:ext cx="15811" cy="221822"/>
            </a:xfrm>
            <a:custGeom>
              <a:avLst/>
              <a:gdLst>
                <a:gd name="connsiteX0" fmla="*/ 0 w 15811"/>
                <a:gd name="connsiteY0" fmla="*/ 0 h 221822"/>
                <a:gd name="connsiteX1" fmla="*/ 15812 w 15811"/>
                <a:gd name="connsiteY1" fmla="*/ 0 h 221822"/>
                <a:gd name="connsiteX2" fmla="*/ 15812 w 15811"/>
                <a:gd name="connsiteY2" fmla="*/ 221822 h 221822"/>
                <a:gd name="connsiteX3" fmla="*/ 0 w 15811"/>
                <a:gd name="connsiteY3" fmla="*/ 221822 h 22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11" h="221822">
                  <a:moveTo>
                    <a:pt x="0" y="0"/>
                  </a:moveTo>
                  <a:lnTo>
                    <a:pt x="15812" y="0"/>
                  </a:lnTo>
                  <a:lnTo>
                    <a:pt x="15812" y="221822"/>
                  </a:lnTo>
                  <a:lnTo>
                    <a:pt x="0" y="221822"/>
                  </a:ln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Picture Placeholder 120">
              <a:extLst>
                <a:ext uri="{FF2B5EF4-FFF2-40B4-BE49-F238E27FC236}">
                  <a16:creationId xmlns:a16="http://schemas.microsoft.com/office/drawing/2014/main" id="{41DF0FFA-48DC-694F-ACA4-48296E001BC6}"/>
                </a:ext>
              </a:extLst>
            </p:cNvPr>
            <p:cNvSpPr/>
            <p:nvPr/>
          </p:nvSpPr>
          <p:spPr>
            <a:xfrm>
              <a:off x="11224827" y="4647438"/>
              <a:ext cx="15811" cy="151029"/>
            </a:xfrm>
            <a:custGeom>
              <a:avLst/>
              <a:gdLst>
                <a:gd name="connsiteX0" fmla="*/ 7969 w 15811"/>
                <a:gd name="connsiteY0" fmla="*/ 824 h 151029"/>
                <a:gd name="connsiteX1" fmla="*/ 0 w 15811"/>
                <a:gd name="connsiteY1" fmla="*/ 0 h 151029"/>
                <a:gd name="connsiteX2" fmla="*/ 0 w 15811"/>
                <a:gd name="connsiteY2" fmla="*/ 151029 h 151029"/>
                <a:gd name="connsiteX3" fmla="*/ 15812 w 15811"/>
                <a:gd name="connsiteY3" fmla="*/ 151029 h 151029"/>
                <a:gd name="connsiteX4" fmla="*/ 15812 w 15811"/>
                <a:gd name="connsiteY4" fmla="*/ 63 h 151029"/>
                <a:gd name="connsiteX5" fmla="*/ 7969 w 15811"/>
                <a:gd name="connsiteY5" fmla="*/ 824 h 15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151029">
                  <a:moveTo>
                    <a:pt x="7969" y="824"/>
                  </a:moveTo>
                  <a:cubicBezTo>
                    <a:pt x="5292" y="807"/>
                    <a:pt x="2623" y="531"/>
                    <a:pt x="0" y="0"/>
                  </a:cubicBezTo>
                  <a:lnTo>
                    <a:pt x="0" y="151029"/>
                  </a:lnTo>
                  <a:lnTo>
                    <a:pt x="15812" y="151029"/>
                  </a:lnTo>
                  <a:lnTo>
                    <a:pt x="15812" y="63"/>
                  </a:lnTo>
                  <a:cubicBezTo>
                    <a:pt x="13223" y="539"/>
                    <a:pt x="10600" y="793"/>
                    <a:pt x="7969" y="824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Picture Placeholder 120">
              <a:extLst>
                <a:ext uri="{FF2B5EF4-FFF2-40B4-BE49-F238E27FC236}">
                  <a16:creationId xmlns:a16="http://schemas.microsoft.com/office/drawing/2014/main" id="{57C2C3F7-61E3-0E43-8042-B29E36C9A39D}"/>
                </a:ext>
              </a:extLst>
            </p:cNvPr>
            <p:cNvSpPr/>
            <p:nvPr/>
          </p:nvSpPr>
          <p:spPr>
            <a:xfrm>
              <a:off x="11201173" y="4575377"/>
              <a:ext cx="63246" cy="63377"/>
            </a:xfrm>
            <a:custGeom>
              <a:avLst/>
              <a:gdLst>
                <a:gd name="connsiteX0" fmla="*/ 63246 w 63246"/>
                <a:gd name="connsiteY0" fmla="*/ 31689 h 63377"/>
                <a:gd name="connsiteX1" fmla="*/ 31623 w 63246"/>
                <a:gd name="connsiteY1" fmla="*/ 63378 h 63377"/>
                <a:gd name="connsiteX2" fmla="*/ 0 w 63246"/>
                <a:gd name="connsiteY2" fmla="*/ 31689 h 63377"/>
                <a:gd name="connsiteX3" fmla="*/ 31623 w 63246"/>
                <a:gd name="connsiteY3" fmla="*/ 0 h 63377"/>
                <a:gd name="connsiteX4" fmla="*/ 63246 w 63246"/>
                <a:gd name="connsiteY4" fmla="*/ 31689 h 6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46" h="63377">
                  <a:moveTo>
                    <a:pt x="63246" y="31689"/>
                  </a:moveTo>
                  <a:cubicBezTo>
                    <a:pt x="63246" y="49190"/>
                    <a:pt x="49088" y="63378"/>
                    <a:pt x="31623" y="63378"/>
                  </a:cubicBezTo>
                  <a:cubicBezTo>
                    <a:pt x="14158" y="63378"/>
                    <a:pt x="0" y="49190"/>
                    <a:pt x="0" y="31689"/>
                  </a:cubicBezTo>
                  <a:cubicBezTo>
                    <a:pt x="0" y="14188"/>
                    <a:pt x="14158" y="0"/>
                    <a:pt x="31623" y="0"/>
                  </a:cubicBezTo>
                  <a:cubicBezTo>
                    <a:pt x="49088" y="0"/>
                    <a:pt x="63246" y="14188"/>
                    <a:pt x="63246" y="31689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Picture Placeholder 120">
              <a:extLst>
                <a:ext uri="{FF2B5EF4-FFF2-40B4-BE49-F238E27FC236}">
                  <a16:creationId xmlns:a16="http://schemas.microsoft.com/office/drawing/2014/main" id="{392B895A-7C9A-BA4C-A597-9FD38E335A55}"/>
                </a:ext>
              </a:extLst>
            </p:cNvPr>
            <p:cNvSpPr/>
            <p:nvPr/>
          </p:nvSpPr>
          <p:spPr>
            <a:xfrm>
              <a:off x="11331333" y="4576644"/>
              <a:ext cx="15811" cy="60335"/>
            </a:xfrm>
            <a:custGeom>
              <a:avLst/>
              <a:gdLst>
                <a:gd name="connsiteX0" fmla="*/ 6957 w 15811"/>
                <a:gd name="connsiteY0" fmla="*/ 59322 h 60335"/>
                <a:gd name="connsiteX1" fmla="*/ 15812 w 15811"/>
                <a:gd name="connsiteY1" fmla="*/ 60336 h 60335"/>
                <a:gd name="connsiteX2" fmla="*/ 15812 w 15811"/>
                <a:gd name="connsiteY2" fmla="*/ 0 h 60335"/>
                <a:gd name="connsiteX3" fmla="*/ 0 w 15811"/>
                <a:gd name="connsiteY3" fmla="*/ 0 h 60335"/>
                <a:gd name="connsiteX4" fmla="*/ 0 w 15811"/>
                <a:gd name="connsiteY4" fmla="*/ 59955 h 60335"/>
                <a:gd name="connsiteX5" fmla="*/ 6957 w 15811"/>
                <a:gd name="connsiteY5" fmla="*/ 59322 h 6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60335">
                  <a:moveTo>
                    <a:pt x="6957" y="59322"/>
                  </a:moveTo>
                  <a:cubicBezTo>
                    <a:pt x="9937" y="59335"/>
                    <a:pt x="12906" y="59675"/>
                    <a:pt x="15812" y="60336"/>
                  </a:cubicBezTo>
                  <a:lnTo>
                    <a:pt x="15812" y="0"/>
                  </a:lnTo>
                  <a:lnTo>
                    <a:pt x="0" y="0"/>
                  </a:lnTo>
                  <a:lnTo>
                    <a:pt x="0" y="59955"/>
                  </a:lnTo>
                  <a:cubicBezTo>
                    <a:pt x="2298" y="59553"/>
                    <a:pt x="4625" y="59341"/>
                    <a:pt x="6957" y="59322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Picture Placeholder 120">
              <a:extLst>
                <a:ext uri="{FF2B5EF4-FFF2-40B4-BE49-F238E27FC236}">
                  <a16:creationId xmlns:a16="http://schemas.microsoft.com/office/drawing/2014/main" id="{FBCD4916-E634-0C4C-B67F-28CE3974E774}"/>
                </a:ext>
              </a:extLst>
            </p:cNvPr>
            <p:cNvSpPr/>
            <p:nvPr/>
          </p:nvSpPr>
          <p:spPr>
            <a:xfrm>
              <a:off x="11331333" y="4717343"/>
              <a:ext cx="15811" cy="81123"/>
            </a:xfrm>
            <a:custGeom>
              <a:avLst/>
              <a:gdLst>
                <a:gd name="connsiteX0" fmla="*/ 6957 w 15811"/>
                <a:gd name="connsiteY0" fmla="*/ 1014 h 81123"/>
                <a:gd name="connsiteX1" fmla="*/ 0 w 15811"/>
                <a:gd name="connsiteY1" fmla="*/ 380 h 81123"/>
                <a:gd name="connsiteX2" fmla="*/ 0 w 15811"/>
                <a:gd name="connsiteY2" fmla="*/ 81124 h 81123"/>
                <a:gd name="connsiteX3" fmla="*/ 15812 w 15811"/>
                <a:gd name="connsiteY3" fmla="*/ 81124 h 81123"/>
                <a:gd name="connsiteX4" fmla="*/ 15812 w 15811"/>
                <a:gd name="connsiteY4" fmla="*/ 0 h 81123"/>
                <a:gd name="connsiteX5" fmla="*/ 6957 w 15811"/>
                <a:gd name="connsiteY5" fmla="*/ 1014 h 8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81123">
                  <a:moveTo>
                    <a:pt x="6957" y="1014"/>
                  </a:moveTo>
                  <a:cubicBezTo>
                    <a:pt x="4625" y="994"/>
                    <a:pt x="2298" y="783"/>
                    <a:pt x="0" y="380"/>
                  </a:cubicBezTo>
                  <a:lnTo>
                    <a:pt x="0" y="81124"/>
                  </a:lnTo>
                  <a:lnTo>
                    <a:pt x="15812" y="81124"/>
                  </a:lnTo>
                  <a:lnTo>
                    <a:pt x="15812" y="0"/>
                  </a:lnTo>
                  <a:cubicBezTo>
                    <a:pt x="12906" y="660"/>
                    <a:pt x="9937" y="1001"/>
                    <a:pt x="6957" y="1014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Picture Placeholder 120">
              <a:extLst>
                <a:ext uri="{FF2B5EF4-FFF2-40B4-BE49-F238E27FC236}">
                  <a16:creationId xmlns:a16="http://schemas.microsoft.com/office/drawing/2014/main" id="{A88867DD-5AD1-D441-A5A2-77415938ADC9}"/>
                </a:ext>
              </a:extLst>
            </p:cNvPr>
            <p:cNvSpPr/>
            <p:nvPr/>
          </p:nvSpPr>
          <p:spPr>
            <a:xfrm>
              <a:off x="11306667" y="4645473"/>
              <a:ext cx="63246" cy="63377"/>
            </a:xfrm>
            <a:custGeom>
              <a:avLst/>
              <a:gdLst>
                <a:gd name="connsiteX0" fmla="*/ 63246 w 63246"/>
                <a:gd name="connsiteY0" fmla="*/ 31689 h 63377"/>
                <a:gd name="connsiteX1" fmla="*/ 31623 w 63246"/>
                <a:gd name="connsiteY1" fmla="*/ 63378 h 63377"/>
                <a:gd name="connsiteX2" fmla="*/ 0 w 63246"/>
                <a:gd name="connsiteY2" fmla="*/ 31689 h 63377"/>
                <a:gd name="connsiteX3" fmla="*/ 31623 w 63246"/>
                <a:gd name="connsiteY3" fmla="*/ 0 h 63377"/>
                <a:gd name="connsiteX4" fmla="*/ 63246 w 63246"/>
                <a:gd name="connsiteY4" fmla="*/ 31689 h 6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46" h="63377">
                  <a:moveTo>
                    <a:pt x="63246" y="31689"/>
                  </a:moveTo>
                  <a:cubicBezTo>
                    <a:pt x="63246" y="49190"/>
                    <a:pt x="49088" y="63378"/>
                    <a:pt x="31623" y="63378"/>
                  </a:cubicBezTo>
                  <a:cubicBezTo>
                    <a:pt x="14158" y="63378"/>
                    <a:pt x="0" y="49190"/>
                    <a:pt x="0" y="31689"/>
                  </a:cubicBezTo>
                  <a:cubicBezTo>
                    <a:pt x="0" y="14188"/>
                    <a:pt x="14158" y="0"/>
                    <a:pt x="31623" y="0"/>
                  </a:cubicBezTo>
                  <a:cubicBezTo>
                    <a:pt x="49088" y="0"/>
                    <a:pt x="63246" y="14188"/>
                    <a:pt x="63246" y="31689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Picture Placeholder 120">
              <a:extLst>
                <a:ext uri="{FF2B5EF4-FFF2-40B4-BE49-F238E27FC236}">
                  <a16:creationId xmlns:a16="http://schemas.microsoft.com/office/drawing/2014/main" id="{76BC5651-3E18-1E43-83CF-B4D33ACDB40C}"/>
                </a:ext>
              </a:extLst>
            </p:cNvPr>
            <p:cNvSpPr/>
            <p:nvPr/>
          </p:nvSpPr>
          <p:spPr>
            <a:xfrm>
              <a:off x="11389458" y="4731605"/>
              <a:ext cx="82835" cy="83023"/>
            </a:xfrm>
            <a:custGeom>
              <a:avLst/>
              <a:gdLst>
                <a:gd name="connsiteX0" fmla="*/ 41741 w 82835"/>
                <a:gd name="connsiteY0" fmla="*/ 83023 h 83023"/>
                <a:gd name="connsiteX1" fmla="*/ 12711 w 82835"/>
                <a:gd name="connsiteY1" fmla="*/ 70982 h 83023"/>
                <a:gd name="connsiteX2" fmla="*/ 11386 w 82835"/>
                <a:gd name="connsiteY2" fmla="*/ 12737 h 83023"/>
                <a:gd name="connsiteX3" fmla="*/ 69509 w 82835"/>
                <a:gd name="connsiteY3" fmla="*/ 11410 h 83023"/>
                <a:gd name="connsiteX4" fmla="*/ 70834 w 82835"/>
                <a:gd name="connsiteY4" fmla="*/ 12737 h 83023"/>
                <a:gd name="connsiteX5" fmla="*/ 70756 w 82835"/>
                <a:gd name="connsiteY5" fmla="*/ 70997 h 83023"/>
                <a:gd name="connsiteX6" fmla="*/ 41741 w 82835"/>
                <a:gd name="connsiteY6" fmla="*/ 83023 h 83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35" h="83023">
                  <a:moveTo>
                    <a:pt x="41741" y="83023"/>
                  </a:moveTo>
                  <a:cubicBezTo>
                    <a:pt x="30845" y="83068"/>
                    <a:pt x="20387" y="78730"/>
                    <a:pt x="12711" y="70982"/>
                  </a:cubicBezTo>
                  <a:cubicBezTo>
                    <a:pt x="-3705" y="55265"/>
                    <a:pt x="-4298" y="29188"/>
                    <a:pt x="11386" y="12737"/>
                  </a:cubicBezTo>
                  <a:cubicBezTo>
                    <a:pt x="27070" y="-3713"/>
                    <a:pt x="53093" y="-4307"/>
                    <a:pt x="69509" y="11410"/>
                  </a:cubicBezTo>
                  <a:cubicBezTo>
                    <a:pt x="69961" y="11842"/>
                    <a:pt x="70403" y="12285"/>
                    <a:pt x="70834" y="12737"/>
                  </a:cubicBezTo>
                  <a:cubicBezTo>
                    <a:pt x="86867" y="28847"/>
                    <a:pt x="86831" y="54931"/>
                    <a:pt x="70756" y="70997"/>
                  </a:cubicBezTo>
                  <a:cubicBezTo>
                    <a:pt x="63053" y="78695"/>
                    <a:pt x="52620" y="83020"/>
                    <a:pt x="41741" y="83023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Picture Placeholder 120">
              <a:extLst>
                <a:ext uri="{FF2B5EF4-FFF2-40B4-BE49-F238E27FC236}">
                  <a16:creationId xmlns:a16="http://schemas.microsoft.com/office/drawing/2014/main" id="{AD0AB60E-C056-6C4F-B96A-33BF53F4046C}"/>
                </a:ext>
              </a:extLst>
            </p:cNvPr>
            <p:cNvSpPr/>
            <p:nvPr/>
          </p:nvSpPr>
          <p:spPr>
            <a:xfrm>
              <a:off x="11399575" y="4741744"/>
              <a:ext cx="63246" cy="63377"/>
            </a:xfrm>
            <a:custGeom>
              <a:avLst/>
              <a:gdLst>
                <a:gd name="connsiteX0" fmla="*/ 63246 w 63246"/>
                <a:gd name="connsiteY0" fmla="*/ 31689 h 63377"/>
                <a:gd name="connsiteX1" fmla="*/ 31623 w 63246"/>
                <a:gd name="connsiteY1" fmla="*/ 63378 h 63377"/>
                <a:gd name="connsiteX2" fmla="*/ 0 w 63246"/>
                <a:gd name="connsiteY2" fmla="*/ 31689 h 63377"/>
                <a:gd name="connsiteX3" fmla="*/ 31623 w 63246"/>
                <a:gd name="connsiteY3" fmla="*/ 0 h 63377"/>
                <a:gd name="connsiteX4" fmla="*/ 63246 w 63246"/>
                <a:gd name="connsiteY4" fmla="*/ 31689 h 6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46" h="63377">
                  <a:moveTo>
                    <a:pt x="63246" y="31689"/>
                  </a:moveTo>
                  <a:cubicBezTo>
                    <a:pt x="63246" y="49190"/>
                    <a:pt x="49088" y="63378"/>
                    <a:pt x="31623" y="63378"/>
                  </a:cubicBezTo>
                  <a:cubicBezTo>
                    <a:pt x="14158" y="63378"/>
                    <a:pt x="0" y="49190"/>
                    <a:pt x="0" y="31689"/>
                  </a:cubicBezTo>
                  <a:cubicBezTo>
                    <a:pt x="0" y="14188"/>
                    <a:pt x="14158" y="0"/>
                    <a:pt x="31623" y="0"/>
                  </a:cubicBezTo>
                  <a:cubicBezTo>
                    <a:pt x="49088" y="0"/>
                    <a:pt x="63246" y="14188"/>
                    <a:pt x="63246" y="31689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Picture Placeholder 120">
              <a:extLst>
                <a:ext uri="{FF2B5EF4-FFF2-40B4-BE49-F238E27FC236}">
                  <a16:creationId xmlns:a16="http://schemas.microsoft.com/office/drawing/2014/main" id="{07209B8D-D987-E944-B4AF-A5B516532D10}"/>
                </a:ext>
              </a:extLst>
            </p:cNvPr>
            <p:cNvSpPr/>
            <p:nvPr/>
          </p:nvSpPr>
          <p:spPr>
            <a:xfrm>
              <a:off x="11519490" y="4576644"/>
              <a:ext cx="15558" cy="40244"/>
            </a:xfrm>
            <a:custGeom>
              <a:avLst/>
              <a:gdLst>
                <a:gd name="connsiteX0" fmla="*/ 7590 w 15558"/>
                <a:gd name="connsiteY0" fmla="*/ 39421 h 40244"/>
                <a:gd name="connsiteX1" fmla="*/ 15559 w 15558"/>
                <a:gd name="connsiteY1" fmla="*/ 40245 h 40244"/>
                <a:gd name="connsiteX2" fmla="*/ 15559 w 15558"/>
                <a:gd name="connsiteY2" fmla="*/ 0 h 40244"/>
                <a:gd name="connsiteX3" fmla="*/ 0 w 15558"/>
                <a:gd name="connsiteY3" fmla="*/ 0 h 40244"/>
                <a:gd name="connsiteX4" fmla="*/ 0 w 15558"/>
                <a:gd name="connsiteY4" fmla="*/ 40182 h 40244"/>
                <a:gd name="connsiteX5" fmla="*/ 7590 w 15558"/>
                <a:gd name="connsiteY5" fmla="*/ 39421 h 4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58" h="40244">
                  <a:moveTo>
                    <a:pt x="7590" y="39421"/>
                  </a:moveTo>
                  <a:cubicBezTo>
                    <a:pt x="10267" y="39409"/>
                    <a:pt x="12939" y="39685"/>
                    <a:pt x="15559" y="40245"/>
                  </a:cubicBezTo>
                  <a:lnTo>
                    <a:pt x="15559" y="0"/>
                  </a:lnTo>
                  <a:lnTo>
                    <a:pt x="0" y="0"/>
                  </a:lnTo>
                  <a:lnTo>
                    <a:pt x="0" y="40182"/>
                  </a:lnTo>
                  <a:cubicBezTo>
                    <a:pt x="2500" y="39688"/>
                    <a:pt x="5041" y="39433"/>
                    <a:pt x="7590" y="39421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Picture Placeholder 120">
              <a:extLst>
                <a:ext uri="{FF2B5EF4-FFF2-40B4-BE49-F238E27FC236}">
                  <a16:creationId xmlns:a16="http://schemas.microsoft.com/office/drawing/2014/main" id="{114A44F0-0412-1B45-9C46-AC5BC6FF839D}"/>
                </a:ext>
              </a:extLst>
            </p:cNvPr>
            <p:cNvSpPr/>
            <p:nvPr/>
          </p:nvSpPr>
          <p:spPr>
            <a:xfrm>
              <a:off x="11519237" y="4697696"/>
              <a:ext cx="15811" cy="100770"/>
            </a:xfrm>
            <a:custGeom>
              <a:avLst/>
              <a:gdLst>
                <a:gd name="connsiteX0" fmla="*/ 7842 w 15811"/>
                <a:gd name="connsiteY0" fmla="*/ 761 h 100770"/>
                <a:gd name="connsiteX1" fmla="*/ 0 w 15811"/>
                <a:gd name="connsiteY1" fmla="*/ 0 h 100770"/>
                <a:gd name="connsiteX2" fmla="*/ 0 w 15811"/>
                <a:gd name="connsiteY2" fmla="*/ 100771 h 100770"/>
                <a:gd name="connsiteX3" fmla="*/ 15812 w 15811"/>
                <a:gd name="connsiteY3" fmla="*/ 100771 h 100770"/>
                <a:gd name="connsiteX4" fmla="*/ 15812 w 15811"/>
                <a:gd name="connsiteY4" fmla="*/ 0 h 100770"/>
                <a:gd name="connsiteX5" fmla="*/ 7842 w 15811"/>
                <a:gd name="connsiteY5" fmla="*/ 761 h 100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11" h="100770">
                  <a:moveTo>
                    <a:pt x="7842" y="761"/>
                  </a:moveTo>
                  <a:cubicBezTo>
                    <a:pt x="5210" y="765"/>
                    <a:pt x="2583" y="510"/>
                    <a:pt x="0" y="0"/>
                  </a:cubicBezTo>
                  <a:lnTo>
                    <a:pt x="0" y="100771"/>
                  </a:lnTo>
                  <a:lnTo>
                    <a:pt x="15812" y="100771"/>
                  </a:lnTo>
                  <a:lnTo>
                    <a:pt x="15812" y="0"/>
                  </a:lnTo>
                  <a:cubicBezTo>
                    <a:pt x="13186" y="507"/>
                    <a:pt x="10517" y="762"/>
                    <a:pt x="7842" y="761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Picture Placeholder 120">
              <a:extLst>
                <a:ext uri="{FF2B5EF4-FFF2-40B4-BE49-F238E27FC236}">
                  <a16:creationId xmlns:a16="http://schemas.microsoft.com/office/drawing/2014/main" id="{A84BF1AF-D9A1-DD45-B108-08D139C83646}"/>
                </a:ext>
              </a:extLst>
            </p:cNvPr>
            <p:cNvSpPr/>
            <p:nvPr/>
          </p:nvSpPr>
          <p:spPr>
            <a:xfrm>
              <a:off x="11495709" y="4625572"/>
              <a:ext cx="63246" cy="63377"/>
            </a:xfrm>
            <a:custGeom>
              <a:avLst/>
              <a:gdLst>
                <a:gd name="connsiteX0" fmla="*/ 63246 w 63246"/>
                <a:gd name="connsiteY0" fmla="*/ 31689 h 63377"/>
                <a:gd name="connsiteX1" fmla="*/ 31623 w 63246"/>
                <a:gd name="connsiteY1" fmla="*/ 63378 h 63377"/>
                <a:gd name="connsiteX2" fmla="*/ 0 w 63246"/>
                <a:gd name="connsiteY2" fmla="*/ 31689 h 63377"/>
                <a:gd name="connsiteX3" fmla="*/ 31623 w 63246"/>
                <a:gd name="connsiteY3" fmla="*/ 0 h 63377"/>
                <a:gd name="connsiteX4" fmla="*/ 63246 w 63246"/>
                <a:gd name="connsiteY4" fmla="*/ 31689 h 6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46" h="63377">
                  <a:moveTo>
                    <a:pt x="63246" y="31689"/>
                  </a:moveTo>
                  <a:cubicBezTo>
                    <a:pt x="63246" y="49190"/>
                    <a:pt x="49088" y="63378"/>
                    <a:pt x="31623" y="63378"/>
                  </a:cubicBezTo>
                  <a:cubicBezTo>
                    <a:pt x="14158" y="63378"/>
                    <a:pt x="0" y="49190"/>
                    <a:pt x="0" y="31689"/>
                  </a:cubicBezTo>
                  <a:cubicBezTo>
                    <a:pt x="0" y="14188"/>
                    <a:pt x="14158" y="0"/>
                    <a:pt x="31623" y="0"/>
                  </a:cubicBezTo>
                  <a:cubicBezTo>
                    <a:pt x="49088" y="0"/>
                    <a:pt x="63246" y="14188"/>
                    <a:pt x="63246" y="31689"/>
                  </a:cubicBezTo>
                  <a:close/>
                </a:path>
              </a:pathLst>
            </a:custGeom>
            <a:grpFill/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74">
            <a:extLst>
              <a:ext uri="{FF2B5EF4-FFF2-40B4-BE49-F238E27FC236}">
                <a16:creationId xmlns:a16="http://schemas.microsoft.com/office/drawing/2014/main" id="{3BD78E72-A339-1682-FEA0-5FFF42CB76F0}"/>
              </a:ext>
            </a:extLst>
          </p:cNvPr>
          <p:cNvSpPr/>
          <p:nvPr/>
        </p:nvSpPr>
        <p:spPr>
          <a:xfrm>
            <a:off x="5265118" y="5409668"/>
            <a:ext cx="644952" cy="661523"/>
          </a:xfrm>
          <a:custGeom>
            <a:avLst/>
            <a:gdLst>
              <a:gd name="connsiteX0" fmla="*/ 348928 w 600773"/>
              <a:gd name="connsiteY0" fmla="*/ 600837 h 600837"/>
              <a:gd name="connsiteX1" fmla="*/ 248873 w 600773"/>
              <a:gd name="connsiteY1" fmla="*/ 600837 h 600837"/>
              <a:gd name="connsiteX2" fmla="*/ 246723 w 600773"/>
              <a:gd name="connsiteY2" fmla="*/ 596347 h 600837"/>
              <a:gd name="connsiteX3" fmla="*/ 237109 w 600773"/>
              <a:gd name="connsiteY3" fmla="*/ 565293 h 600837"/>
              <a:gd name="connsiteX4" fmla="*/ 230342 w 600773"/>
              <a:gd name="connsiteY4" fmla="*/ 539615 h 600837"/>
              <a:gd name="connsiteX5" fmla="*/ 179745 w 600773"/>
              <a:gd name="connsiteY5" fmla="*/ 517036 h 600837"/>
              <a:gd name="connsiteX6" fmla="*/ 156913 w 600773"/>
              <a:gd name="connsiteY6" fmla="*/ 528673 h 600837"/>
              <a:gd name="connsiteX7" fmla="*/ 130160 w 600773"/>
              <a:gd name="connsiteY7" fmla="*/ 543852 h 600837"/>
              <a:gd name="connsiteX8" fmla="*/ 126239 w 600773"/>
              <a:gd name="connsiteY8" fmla="*/ 545560 h 600837"/>
              <a:gd name="connsiteX9" fmla="*/ 122444 w 600773"/>
              <a:gd name="connsiteY9" fmla="*/ 543410 h 600837"/>
              <a:gd name="connsiteX10" fmla="*/ 55720 w 600773"/>
              <a:gd name="connsiteY10" fmla="*/ 480164 h 600837"/>
              <a:gd name="connsiteX11" fmla="*/ 52557 w 600773"/>
              <a:gd name="connsiteY11" fmla="*/ 476875 h 600837"/>
              <a:gd name="connsiteX12" fmla="*/ 53759 w 600773"/>
              <a:gd name="connsiteY12" fmla="*/ 472511 h 600837"/>
              <a:gd name="connsiteX13" fmla="*/ 80955 w 600773"/>
              <a:gd name="connsiteY13" fmla="*/ 420459 h 600837"/>
              <a:gd name="connsiteX14" fmla="*/ 69760 w 600773"/>
              <a:gd name="connsiteY14" fmla="*/ 395161 h 600837"/>
              <a:gd name="connsiteX15" fmla="*/ 60526 w 600773"/>
              <a:gd name="connsiteY15" fmla="*/ 366321 h 600837"/>
              <a:gd name="connsiteX16" fmla="*/ 34912 w 600773"/>
              <a:gd name="connsiteY16" fmla="*/ 360502 h 600837"/>
              <a:gd name="connsiteX17" fmla="*/ 6325 w 600773"/>
              <a:gd name="connsiteY17" fmla="*/ 352849 h 600837"/>
              <a:gd name="connsiteX18" fmla="*/ 0 w 600773"/>
              <a:gd name="connsiteY18" fmla="*/ 351585 h 600837"/>
              <a:gd name="connsiteX19" fmla="*/ 0 w 600773"/>
              <a:gd name="connsiteY19" fmla="*/ 246153 h 600837"/>
              <a:gd name="connsiteX20" fmla="*/ 6325 w 600773"/>
              <a:gd name="connsiteY20" fmla="*/ 244699 h 600837"/>
              <a:gd name="connsiteX21" fmla="*/ 33773 w 600773"/>
              <a:gd name="connsiteY21" fmla="*/ 237109 h 600837"/>
              <a:gd name="connsiteX22" fmla="*/ 59514 w 600773"/>
              <a:gd name="connsiteY22" fmla="*/ 230785 h 600837"/>
              <a:gd name="connsiteX23" fmla="*/ 70962 w 600773"/>
              <a:gd name="connsiteY23" fmla="*/ 205170 h 600837"/>
              <a:gd name="connsiteX24" fmla="*/ 83611 w 600773"/>
              <a:gd name="connsiteY24" fmla="*/ 178860 h 600837"/>
              <a:gd name="connsiteX25" fmla="*/ 55720 w 600773"/>
              <a:gd name="connsiteY25" fmla="*/ 133892 h 600837"/>
              <a:gd name="connsiteX26" fmla="*/ 51609 w 600773"/>
              <a:gd name="connsiteY26" fmla="*/ 129275 h 600837"/>
              <a:gd name="connsiteX27" fmla="*/ 55151 w 600773"/>
              <a:gd name="connsiteY27" fmla="*/ 124152 h 600837"/>
              <a:gd name="connsiteX28" fmla="*/ 121306 w 600773"/>
              <a:gd name="connsiteY28" fmla="*/ 55656 h 600837"/>
              <a:gd name="connsiteX29" fmla="*/ 125290 w 600773"/>
              <a:gd name="connsiteY29" fmla="*/ 51798 h 600837"/>
              <a:gd name="connsiteX30" fmla="*/ 130287 w 600773"/>
              <a:gd name="connsiteY30" fmla="*/ 54265 h 600837"/>
              <a:gd name="connsiteX31" fmla="*/ 181516 w 600773"/>
              <a:gd name="connsiteY31" fmla="*/ 83295 h 600837"/>
              <a:gd name="connsiteX32" fmla="*/ 233315 w 600773"/>
              <a:gd name="connsiteY32" fmla="*/ 63056 h 600837"/>
              <a:gd name="connsiteX33" fmla="*/ 240525 w 600773"/>
              <a:gd name="connsiteY33" fmla="*/ 36430 h 600837"/>
              <a:gd name="connsiteX34" fmla="*/ 249252 w 600773"/>
              <a:gd name="connsiteY34" fmla="*/ 5566 h 600837"/>
              <a:gd name="connsiteX35" fmla="*/ 250960 w 600773"/>
              <a:gd name="connsiteY35" fmla="*/ 0 h 600837"/>
              <a:gd name="connsiteX36" fmla="*/ 352154 w 600773"/>
              <a:gd name="connsiteY36" fmla="*/ 0 h 600837"/>
              <a:gd name="connsiteX37" fmla="*/ 354178 w 600773"/>
              <a:gd name="connsiteY37" fmla="*/ 4933 h 600837"/>
              <a:gd name="connsiteX38" fmla="*/ 370748 w 600773"/>
              <a:gd name="connsiteY38" fmla="*/ 61285 h 600837"/>
              <a:gd name="connsiteX39" fmla="*/ 396046 w 600773"/>
              <a:gd name="connsiteY39" fmla="*/ 71089 h 600837"/>
              <a:gd name="connsiteX40" fmla="*/ 422104 w 600773"/>
              <a:gd name="connsiteY40" fmla="*/ 83738 h 600837"/>
              <a:gd name="connsiteX41" fmla="*/ 443860 w 600773"/>
              <a:gd name="connsiteY41" fmla="*/ 72417 h 600837"/>
              <a:gd name="connsiteX42" fmla="*/ 471309 w 600773"/>
              <a:gd name="connsiteY42" fmla="*/ 57048 h 600837"/>
              <a:gd name="connsiteX43" fmla="*/ 475041 w 600773"/>
              <a:gd name="connsiteY43" fmla="*/ 55467 h 600837"/>
              <a:gd name="connsiteX44" fmla="*/ 478519 w 600773"/>
              <a:gd name="connsiteY44" fmla="*/ 57554 h 600837"/>
              <a:gd name="connsiteX45" fmla="*/ 514633 w 600773"/>
              <a:gd name="connsiteY45" fmla="*/ 89177 h 600837"/>
              <a:gd name="connsiteX46" fmla="*/ 546951 w 600773"/>
              <a:gd name="connsiteY46" fmla="*/ 120231 h 600837"/>
              <a:gd name="connsiteX47" fmla="*/ 552138 w 600773"/>
              <a:gd name="connsiteY47" fmla="*/ 124342 h 600837"/>
              <a:gd name="connsiteX48" fmla="*/ 548975 w 600773"/>
              <a:gd name="connsiteY48" fmla="*/ 130160 h 600837"/>
              <a:gd name="connsiteX49" fmla="*/ 519629 w 600773"/>
              <a:gd name="connsiteY49" fmla="*/ 180757 h 600837"/>
              <a:gd name="connsiteX50" fmla="*/ 538603 w 600773"/>
              <a:gd name="connsiteY50" fmla="*/ 233884 h 600837"/>
              <a:gd name="connsiteX51" fmla="*/ 566052 w 600773"/>
              <a:gd name="connsiteY51" fmla="*/ 240208 h 600837"/>
              <a:gd name="connsiteX52" fmla="*/ 594449 w 600773"/>
              <a:gd name="connsiteY52" fmla="*/ 247798 h 600837"/>
              <a:gd name="connsiteX53" fmla="*/ 600774 w 600773"/>
              <a:gd name="connsiteY53" fmla="*/ 249063 h 600837"/>
              <a:gd name="connsiteX54" fmla="*/ 600774 w 600773"/>
              <a:gd name="connsiteY54" fmla="*/ 354431 h 600837"/>
              <a:gd name="connsiteX55" fmla="*/ 594449 w 600773"/>
              <a:gd name="connsiteY55" fmla="*/ 355822 h 600837"/>
              <a:gd name="connsiteX56" fmla="*/ 567000 w 600773"/>
              <a:gd name="connsiteY56" fmla="*/ 363475 h 600837"/>
              <a:gd name="connsiteX57" fmla="*/ 541070 w 600773"/>
              <a:gd name="connsiteY57" fmla="*/ 369799 h 600837"/>
              <a:gd name="connsiteX58" fmla="*/ 530318 w 600773"/>
              <a:gd name="connsiteY58" fmla="*/ 395541 h 600837"/>
              <a:gd name="connsiteX59" fmla="*/ 517669 w 600773"/>
              <a:gd name="connsiteY59" fmla="*/ 421977 h 600837"/>
              <a:gd name="connsiteX60" fmla="*/ 530318 w 600773"/>
              <a:gd name="connsiteY60" fmla="*/ 443481 h 600837"/>
              <a:gd name="connsiteX61" fmla="*/ 545434 w 600773"/>
              <a:gd name="connsiteY61" fmla="*/ 467514 h 600837"/>
              <a:gd name="connsiteX62" fmla="*/ 548975 w 600773"/>
              <a:gd name="connsiteY62" fmla="*/ 472068 h 600837"/>
              <a:gd name="connsiteX63" fmla="*/ 545687 w 600773"/>
              <a:gd name="connsiteY63" fmla="*/ 476875 h 600837"/>
              <a:gd name="connsiteX64" fmla="*/ 479911 w 600773"/>
              <a:gd name="connsiteY64" fmla="*/ 545307 h 600837"/>
              <a:gd name="connsiteX65" fmla="*/ 475989 w 600773"/>
              <a:gd name="connsiteY65" fmla="*/ 549165 h 600837"/>
              <a:gd name="connsiteX66" fmla="*/ 470993 w 600773"/>
              <a:gd name="connsiteY66" fmla="*/ 546825 h 600837"/>
              <a:gd name="connsiteX67" fmla="*/ 420396 w 600773"/>
              <a:gd name="connsiteY67" fmla="*/ 517985 h 600837"/>
              <a:gd name="connsiteX68" fmla="*/ 369357 w 600773"/>
              <a:gd name="connsiteY68" fmla="*/ 538160 h 600837"/>
              <a:gd name="connsiteX69" fmla="*/ 361261 w 600773"/>
              <a:gd name="connsiteY69" fmla="*/ 563459 h 600837"/>
              <a:gd name="connsiteX70" fmla="*/ 351142 w 600773"/>
              <a:gd name="connsiteY70" fmla="*/ 596663 h 600837"/>
              <a:gd name="connsiteX71" fmla="*/ 259056 w 600773"/>
              <a:gd name="connsiteY71" fmla="*/ 585026 h 600837"/>
              <a:gd name="connsiteX72" fmla="*/ 338809 w 600773"/>
              <a:gd name="connsiteY72" fmla="*/ 585026 h 600837"/>
              <a:gd name="connsiteX73" fmla="*/ 345766 w 600773"/>
              <a:gd name="connsiteY73" fmla="*/ 559727 h 600837"/>
              <a:gd name="connsiteX74" fmla="*/ 357403 w 600773"/>
              <a:gd name="connsiteY74" fmla="*/ 526776 h 600837"/>
              <a:gd name="connsiteX75" fmla="*/ 359301 w 600773"/>
              <a:gd name="connsiteY75" fmla="*/ 523803 h 600837"/>
              <a:gd name="connsiteX76" fmla="*/ 362779 w 600773"/>
              <a:gd name="connsiteY76" fmla="*/ 523171 h 600837"/>
              <a:gd name="connsiteX77" fmla="*/ 416791 w 600773"/>
              <a:gd name="connsiteY77" fmla="*/ 501667 h 600837"/>
              <a:gd name="connsiteX78" fmla="*/ 421092 w 600773"/>
              <a:gd name="connsiteY78" fmla="*/ 499137 h 600837"/>
              <a:gd name="connsiteX79" fmla="*/ 425203 w 600773"/>
              <a:gd name="connsiteY79" fmla="*/ 501920 h 600837"/>
              <a:gd name="connsiteX80" fmla="*/ 473143 w 600773"/>
              <a:gd name="connsiteY80" fmla="*/ 529938 h 600837"/>
              <a:gd name="connsiteX81" fmla="*/ 529559 w 600773"/>
              <a:gd name="connsiteY81" fmla="*/ 472005 h 600837"/>
              <a:gd name="connsiteX82" fmla="*/ 516910 w 600773"/>
              <a:gd name="connsiteY82" fmla="*/ 451197 h 600837"/>
              <a:gd name="connsiteX83" fmla="*/ 501920 w 600773"/>
              <a:gd name="connsiteY83" fmla="*/ 425393 h 600837"/>
              <a:gd name="connsiteX84" fmla="*/ 498631 w 600773"/>
              <a:gd name="connsiteY84" fmla="*/ 420206 h 600837"/>
              <a:gd name="connsiteX85" fmla="*/ 502869 w 600773"/>
              <a:gd name="connsiteY85" fmla="*/ 415716 h 600837"/>
              <a:gd name="connsiteX86" fmla="*/ 516340 w 600773"/>
              <a:gd name="connsiteY86" fmla="*/ 389912 h 600837"/>
              <a:gd name="connsiteX87" fmla="*/ 530128 w 600773"/>
              <a:gd name="connsiteY87" fmla="*/ 358289 h 600837"/>
              <a:gd name="connsiteX88" fmla="*/ 532089 w 600773"/>
              <a:gd name="connsiteY88" fmla="*/ 355126 h 600837"/>
              <a:gd name="connsiteX89" fmla="*/ 535820 w 600773"/>
              <a:gd name="connsiteY89" fmla="*/ 354620 h 600837"/>
              <a:gd name="connsiteX90" fmla="*/ 563395 w 600773"/>
              <a:gd name="connsiteY90" fmla="*/ 348296 h 600837"/>
              <a:gd name="connsiteX91" fmla="*/ 585531 w 600773"/>
              <a:gd name="connsiteY91" fmla="*/ 341971 h 600837"/>
              <a:gd name="connsiteX92" fmla="*/ 585531 w 600773"/>
              <a:gd name="connsiteY92" fmla="*/ 261838 h 600837"/>
              <a:gd name="connsiteX93" fmla="*/ 562130 w 600773"/>
              <a:gd name="connsiteY93" fmla="*/ 255514 h 600837"/>
              <a:gd name="connsiteX94" fmla="*/ 535757 w 600773"/>
              <a:gd name="connsiteY94" fmla="*/ 249189 h 600837"/>
              <a:gd name="connsiteX95" fmla="*/ 504134 w 600773"/>
              <a:gd name="connsiteY95" fmla="*/ 182022 h 600837"/>
              <a:gd name="connsiteX96" fmla="*/ 502806 w 600773"/>
              <a:gd name="connsiteY96" fmla="*/ 178290 h 600837"/>
              <a:gd name="connsiteX97" fmla="*/ 505019 w 600773"/>
              <a:gd name="connsiteY97" fmla="*/ 175002 h 600837"/>
              <a:gd name="connsiteX98" fmla="*/ 532721 w 600773"/>
              <a:gd name="connsiteY98" fmla="*/ 127883 h 600837"/>
              <a:gd name="connsiteX99" fmla="*/ 503881 w 600773"/>
              <a:gd name="connsiteY99" fmla="*/ 99739 h 600837"/>
              <a:gd name="connsiteX100" fmla="*/ 474472 w 600773"/>
              <a:gd name="connsiteY100" fmla="*/ 73049 h 600837"/>
              <a:gd name="connsiteX101" fmla="*/ 453031 w 600773"/>
              <a:gd name="connsiteY101" fmla="*/ 85698 h 600837"/>
              <a:gd name="connsiteX102" fmla="*/ 422547 w 600773"/>
              <a:gd name="connsiteY102" fmla="*/ 99992 h 600837"/>
              <a:gd name="connsiteX103" fmla="*/ 418752 w 600773"/>
              <a:gd name="connsiteY103" fmla="*/ 101004 h 600837"/>
              <a:gd name="connsiteX104" fmla="*/ 416222 w 600773"/>
              <a:gd name="connsiteY104" fmla="*/ 98601 h 600837"/>
              <a:gd name="connsiteX105" fmla="*/ 390924 w 600773"/>
              <a:gd name="connsiteY105" fmla="*/ 85951 h 600837"/>
              <a:gd name="connsiteX106" fmla="*/ 361261 w 600773"/>
              <a:gd name="connsiteY106" fmla="*/ 74314 h 600837"/>
              <a:gd name="connsiteX107" fmla="*/ 357846 w 600773"/>
              <a:gd name="connsiteY107" fmla="*/ 72733 h 600837"/>
              <a:gd name="connsiteX108" fmla="*/ 356454 w 600773"/>
              <a:gd name="connsiteY108" fmla="*/ 69065 h 600837"/>
              <a:gd name="connsiteX109" fmla="*/ 341339 w 600773"/>
              <a:gd name="connsiteY109" fmla="*/ 15812 h 600837"/>
              <a:gd name="connsiteX110" fmla="*/ 262597 w 600773"/>
              <a:gd name="connsiteY110" fmla="*/ 15812 h 600837"/>
              <a:gd name="connsiteX111" fmla="*/ 255767 w 600773"/>
              <a:gd name="connsiteY111" fmla="*/ 40477 h 600837"/>
              <a:gd name="connsiteX112" fmla="*/ 247039 w 600773"/>
              <a:gd name="connsiteY112" fmla="*/ 72100 h 600837"/>
              <a:gd name="connsiteX113" fmla="*/ 245395 w 600773"/>
              <a:gd name="connsiteY113" fmla="*/ 77413 h 600837"/>
              <a:gd name="connsiteX114" fmla="*/ 239892 w 600773"/>
              <a:gd name="connsiteY114" fmla="*/ 77413 h 600837"/>
              <a:gd name="connsiteX115" fmla="*/ 183603 w 600773"/>
              <a:gd name="connsiteY115" fmla="*/ 99233 h 600837"/>
              <a:gd name="connsiteX116" fmla="*/ 179429 w 600773"/>
              <a:gd name="connsiteY116" fmla="*/ 101067 h 600837"/>
              <a:gd name="connsiteX117" fmla="*/ 175887 w 600773"/>
              <a:gd name="connsiteY117" fmla="*/ 98664 h 600837"/>
              <a:gd name="connsiteX118" fmla="*/ 128453 w 600773"/>
              <a:gd name="connsiteY118" fmla="*/ 70899 h 600837"/>
              <a:gd name="connsiteX119" fmla="*/ 71847 w 600773"/>
              <a:gd name="connsiteY119" fmla="*/ 128642 h 600837"/>
              <a:gd name="connsiteX120" fmla="*/ 99992 w 600773"/>
              <a:gd name="connsiteY120" fmla="*/ 175950 h 600837"/>
              <a:gd name="connsiteX121" fmla="*/ 102269 w 600773"/>
              <a:gd name="connsiteY121" fmla="*/ 180188 h 600837"/>
              <a:gd name="connsiteX122" fmla="*/ 99549 w 600773"/>
              <a:gd name="connsiteY122" fmla="*/ 184172 h 600837"/>
              <a:gd name="connsiteX123" fmla="*/ 85572 w 600773"/>
              <a:gd name="connsiteY123" fmla="*/ 211684 h 600837"/>
              <a:gd name="connsiteX124" fmla="*/ 71658 w 600773"/>
              <a:gd name="connsiteY124" fmla="*/ 242232 h 600837"/>
              <a:gd name="connsiteX125" fmla="*/ 69760 w 600773"/>
              <a:gd name="connsiteY125" fmla="*/ 245711 h 600837"/>
              <a:gd name="connsiteX126" fmla="*/ 65839 w 600773"/>
              <a:gd name="connsiteY126" fmla="*/ 246217 h 600837"/>
              <a:gd name="connsiteX127" fmla="*/ 38264 w 600773"/>
              <a:gd name="connsiteY127" fmla="*/ 252541 h 600837"/>
              <a:gd name="connsiteX128" fmla="*/ 16064 w 600773"/>
              <a:gd name="connsiteY128" fmla="*/ 258866 h 600837"/>
              <a:gd name="connsiteX129" fmla="*/ 16064 w 600773"/>
              <a:gd name="connsiteY129" fmla="*/ 338999 h 600837"/>
              <a:gd name="connsiteX130" fmla="*/ 39529 w 600773"/>
              <a:gd name="connsiteY130" fmla="*/ 345323 h 600837"/>
              <a:gd name="connsiteX131" fmla="*/ 68622 w 600773"/>
              <a:gd name="connsiteY131" fmla="*/ 351648 h 600837"/>
              <a:gd name="connsiteX132" fmla="*/ 74567 w 600773"/>
              <a:gd name="connsiteY132" fmla="*/ 352407 h 600837"/>
              <a:gd name="connsiteX133" fmla="*/ 75452 w 600773"/>
              <a:gd name="connsiteY133" fmla="*/ 358352 h 600837"/>
              <a:gd name="connsiteX134" fmla="*/ 84750 w 600773"/>
              <a:gd name="connsiteY134" fmla="*/ 388583 h 600837"/>
              <a:gd name="connsiteX135" fmla="*/ 97399 w 600773"/>
              <a:gd name="connsiteY135" fmla="*/ 418625 h 600837"/>
              <a:gd name="connsiteX136" fmla="*/ 98537 w 600773"/>
              <a:gd name="connsiteY136" fmla="*/ 421977 h 600837"/>
              <a:gd name="connsiteX137" fmla="*/ 96766 w 600773"/>
              <a:gd name="connsiteY137" fmla="*/ 425076 h 600837"/>
              <a:gd name="connsiteX138" fmla="*/ 70836 w 600773"/>
              <a:gd name="connsiteY138" fmla="*/ 472637 h 600837"/>
              <a:gd name="connsiteX139" fmla="*/ 127757 w 600773"/>
              <a:gd name="connsiteY139" fmla="*/ 527345 h 600837"/>
              <a:gd name="connsiteX140" fmla="*/ 148628 w 600773"/>
              <a:gd name="connsiteY140" fmla="*/ 515139 h 600837"/>
              <a:gd name="connsiteX141" fmla="*/ 178354 w 600773"/>
              <a:gd name="connsiteY141" fmla="*/ 500845 h 600837"/>
              <a:gd name="connsiteX142" fmla="*/ 181959 w 600773"/>
              <a:gd name="connsiteY142" fmla="*/ 499770 h 600837"/>
              <a:gd name="connsiteX143" fmla="*/ 185058 w 600773"/>
              <a:gd name="connsiteY143" fmla="*/ 501857 h 600837"/>
              <a:gd name="connsiteX144" fmla="*/ 240019 w 600773"/>
              <a:gd name="connsiteY144" fmla="*/ 526460 h 600837"/>
              <a:gd name="connsiteX145" fmla="*/ 243054 w 600773"/>
              <a:gd name="connsiteY145" fmla="*/ 527788 h 600837"/>
              <a:gd name="connsiteX146" fmla="*/ 244193 w 600773"/>
              <a:gd name="connsiteY146" fmla="*/ 530887 h 600837"/>
              <a:gd name="connsiteX147" fmla="*/ 252731 w 600773"/>
              <a:gd name="connsiteY147" fmla="*/ 561688 h 600837"/>
              <a:gd name="connsiteX148" fmla="*/ 259056 w 600773"/>
              <a:gd name="connsiteY148" fmla="*/ 585026 h 60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600773" h="600837">
                <a:moveTo>
                  <a:pt x="348928" y="600837"/>
                </a:moveTo>
                <a:lnTo>
                  <a:pt x="248873" y="600837"/>
                </a:lnTo>
                <a:lnTo>
                  <a:pt x="246723" y="596347"/>
                </a:lnTo>
                <a:cubicBezTo>
                  <a:pt x="242433" y="586360"/>
                  <a:pt x="239211" y="575956"/>
                  <a:pt x="237109" y="565293"/>
                </a:cubicBezTo>
                <a:cubicBezTo>
                  <a:pt x="234453" y="553909"/>
                  <a:pt x="232176" y="545244"/>
                  <a:pt x="230342" y="539615"/>
                </a:cubicBezTo>
                <a:cubicBezTo>
                  <a:pt x="197454" y="525132"/>
                  <a:pt x="184931" y="519439"/>
                  <a:pt x="179745" y="517036"/>
                </a:cubicBezTo>
                <a:cubicBezTo>
                  <a:pt x="171774" y="520163"/>
                  <a:pt x="164127" y="524061"/>
                  <a:pt x="156913" y="528673"/>
                </a:cubicBezTo>
                <a:cubicBezTo>
                  <a:pt x="148304" y="534259"/>
                  <a:pt x="139371" y="539328"/>
                  <a:pt x="130160" y="543852"/>
                </a:cubicBezTo>
                <a:lnTo>
                  <a:pt x="126239" y="545560"/>
                </a:lnTo>
                <a:lnTo>
                  <a:pt x="122444" y="543410"/>
                </a:lnTo>
                <a:cubicBezTo>
                  <a:pt x="113969" y="537718"/>
                  <a:pt x="92213" y="517099"/>
                  <a:pt x="55720" y="480164"/>
                </a:cubicBezTo>
                <a:lnTo>
                  <a:pt x="52557" y="476875"/>
                </a:lnTo>
                <a:lnTo>
                  <a:pt x="53759" y="472511"/>
                </a:lnTo>
                <a:cubicBezTo>
                  <a:pt x="54898" y="468337"/>
                  <a:pt x="59009" y="458407"/>
                  <a:pt x="80955" y="420459"/>
                </a:cubicBezTo>
                <a:cubicBezTo>
                  <a:pt x="79374" y="416601"/>
                  <a:pt x="76148" y="409138"/>
                  <a:pt x="69760" y="395161"/>
                </a:cubicBezTo>
                <a:cubicBezTo>
                  <a:pt x="65687" y="385895"/>
                  <a:pt x="62593" y="376230"/>
                  <a:pt x="60526" y="366321"/>
                </a:cubicBezTo>
                <a:cubicBezTo>
                  <a:pt x="53190" y="365056"/>
                  <a:pt x="44588" y="363095"/>
                  <a:pt x="34912" y="360502"/>
                </a:cubicBezTo>
                <a:cubicBezTo>
                  <a:pt x="21061" y="356454"/>
                  <a:pt x="11511" y="354178"/>
                  <a:pt x="6325" y="352849"/>
                </a:cubicBezTo>
                <a:lnTo>
                  <a:pt x="0" y="351585"/>
                </a:lnTo>
                <a:lnTo>
                  <a:pt x="0" y="246153"/>
                </a:lnTo>
                <a:lnTo>
                  <a:pt x="6325" y="244699"/>
                </a:lnTo>
                <a:cubicBezTo>
                  <a:pt x="10752" y="243687"/>
                  <a:pt x="19733" y="241220"/>
                  <a:pt x="33773" y="237109"/>
                </a:cubicBezTo>
                <a:cubicBezTo>
                  <a:pt x="42224" y="234503"/>
                  <a:pt x="50819" y="232391"/>
                  <a:pt x="59514" y="230785"/>
                </a:cubicBezTo>
                <a:cubicBezTo>
                  <a:pt x="62171" y="225535"/>
                  <a:pt x="65839" y="216934"/>
                  <a:pt x="70962" y="205170"/>
                </a:cubicBezTo>
                <a:cubicBezTo>
                  <a:pt x="74537" y="196106"/>
                  <a:pt x="78765" y="187313"/>
                  <a:pt x="83611" y="178860"/>
                </a:cubicBezTo>
                <a:cubicBezTo>
                  <a:pt x="67800" y="150020"/>
                  <a:pt x="59704" y="138635"/>
                  <a:pt x="55720" y="133892"/>
                </a:cubicBezTo>
                <a:lnTo>
                  <a:pt x="51609" y="129275"/>
                </a:lnTo>
                <a:lnTo>
                  <a:pt x="55151" y="124152"/>
                </a:lnTo>
                <a:cubicBezTo>
                  <a:pt x="60969" y="115803"/>
                  <a:pt x="82599" y="93351"/>
                  <a:pt x="121306" y="55656"/>
                </a:cubicBezTo>
                <a:lnTo>
                  <a:pt x="125290" y="51798"/>
                </a:lnTo>
                <a:lnTo>
                  <a:pt x="130287" y="54265"/>
                </a:lnTo>
                <a:cubicBezTo>
                  <a:pt x="148100" y="62579"/>
                  <a:pt x="165230" y="72286"/>
                  <a:pt x="181516" y="83295"/>
                </a:cubicBezTo>
                <a:cubicBezTo>
                  <a:pt x="198335" y="75456"/>
                  <a:pt x="215637" y="68697"/>
                  <a:pt x="233315" y="63056"/>
                </a:cubicBezTo>
                <a:cubicBezTo>
                  <a:pt x="234516" y="58692"/>
                  <a:pt x="236730" y="50787"/>
                  <a:pt x="240525" y="36430"/>
                </a:cubicBezTo>
                <a:cubicBezTo>
                  <a:pt x="243813" y="23780"/>
                  <a:pt x="246849" y="13535"/>
                  <a:pt x="249252" y="5566"/>
                </a:cubicBezTo>
                <a:lnTo>
                  <a:pt x="250960" y="0"/>
                </a:lnTo>
                <a:lnTo>
                  <a:pt x="352154" y="0"/>
                </a:lnTo>
                <a:lnTo>
                  <a:pt x="354178" y="4933"/>
                </a:lnTo>
                <a:cubicBezTo>
                  <a:pt x="357466" y="13155"/>
                  <a:pt x="362906" y="31560"/>
                  <a:pt x="370748" y="61285"/>
                </a:cubicBezTo>
                <a:cubicBezTo>
                  <a:pt x="374733" y="62930"/>
                  <a:pt x="382196" y="65902"/>
                  <a:pt x="396046" y="71089"/>
                </a:cubicBezTo>
                <a:cubicBezTo>
                  <a:pt x="405168" y="74339"/>
                  <a:pt x="413907" y="78581"/>
                  <a:pt x="422104" y="83738"/>
                </a:cubicBezTo>
                <a:cubicBezTo>
                  <a:pt x="429774" y="80828"/>
                  <a:pt x="437076" y="77029"/>
                  <a:pt x="443860" y="72417"/>
                </a:cubicBezTo>
                <a:cubicBezTo>
                  <a:pt x="452652" y="66680"/>
                  <a:pt x="461823" y="61545"/>
                  <a:pt x="471309" y="57048"/>
                </a:cubicBezTo>
                <a:lnTo>
                  <a:pt x="475041" y="55467"/>
                </a:lnTo>
                <a:lnTo>
                  <a:pt x="478519" y="57554"/>
                </a:lnTo>
                <a:cubicBezTo>
                  <a:pt x="491900" y="66456"/>
                  <a:pt x="504043" y="77089"/>
                  <a:pt x="514633" y="89177"/>
                </a:cubicBezTo>
                <a:cubicBezTo>
                  <a:pt x="524848" y="100093"/>
                  <a:pt x="535636" y="110459"/>
                  <a:pt x="546951" y="120231"/>
                </a:cubicBezTo>
                <a:lnTo>
                  <a:pt x="552138" y="124342"/>
                </a:lnTo>
                <a:lnTo>
                  <a:pt x="548975" y="130160"/>
                </a:lnTo>
                <a:cubicBezTo>
                  <a:pt x="536326" y="153055"/>
                  <a:pt x="526966" y="169752"/>
                  <a:pt x="519629" y="180757"/>
                </a:cubicBezTo>
                <a:cubicBezTo>
                  <a:pt x="531140" y="213835"/>
                  <a:pt x="536326" y="228002"/>
                  <a:pt x="538603" y="233884"/>
                </a:cubicBezTo>
                <a:cubicBezTo>
                  <a:pt x="547898" y="235304"/>
                  <a:pt x="557071" y="237418"/>
                  <a:pt x="566052" y="240208"/>
                </a:cubicBezTo>
                <a:cubicBezTo>
                  <a:pt x="579713" y="244193"/>
                  <a:pt x="589326" y="246533"/>
                  <a:pt x="594449" y="247798"/>
                </a:cubicBezTo>
                <a:lnTo>
                  <a:pt x="600774" y="249063"/>
                </a:lnTo>
                <a:lnTo>
                  <a:pt x="600774" y="354431"/>
                </a:lnTo>
                <a:lnTo>
                  <a:pt x="594449" y="355822"/>
                </a:lnTo>
                <a:cubicBezTo>
                  <a:pt x="591224" y="356581"/>
                  <a:pt x="583824" y="358542"/>
                  <a:pt x="567000" y="363475"/>
                </a:cubicBezTo>
                <a:cubicBezTo>
                  <a:pt x="558481" y="366068"/>
                  <a:pt x="549825" y="368180"/>
                  <a:pt x="541070" y="369799"/>
                </a:cubicBezTo>
                <a:cubicBezTo>
                  <a:pt x="537042" y="378188"/>
                  <a:pt x="533453" y="386780"/>
                  <a:pt x="530318" y="395541"/>
                </a:cubicBezTo>
                <a:cubicBezTo>
                  <a:pt x="527320" y="404886"/>
                  <a:pt x="523064" y="413779"/>
                  <a:pt x="517669" y="421977"/>
                </a:cubicBezTo>
                <a:cubicBezTo>
                  <a:pt x="520388" y="426594"/>
                  <a:pt x="524562" y="433804"/>
                  <a:pt x="530318" y="443481"/>
                </a:cubicBezTo>
                <a:cubicBezTo>
                  <a:pt x="534778" y="451841"/>
                  <a:pt x="539829" y="459873"/>
                  <a:pt x="545434" y="467514"/>
                </a:cubicBezTo>
                <a:lnTo>
                  <a:pt x="548975" y="472068"/>
                </a:lnTo>
                <a:lnTo>
                  <a:pt x="545687" y="476875"/>
                </a:lnTo>
                <a:cubicBezTo>
                  <a:pt x="539868" y="485223"/>
                  <a:pt x="518364" y="507612"/>
                  <a:pt x="479911" y="545307"/>
                </a:cubicBezTo>
                <a:lnTo>
                  <a:pt x="475989" y="549165"/>
                </a:lnTo>
                <a:lnTo>
                  <a:pt x="470993" y="546825"/>
                </a:lnTo>
                <a:cubicBezTo>
                  <a:pt x="453461" y="538432"/>
                  <a:pt x="436552" y="528794"/>
                  <a:pt x="420396" y="517985"/>
                </a:cubicBezTo>
                <a:cubicBezTo>
                  <a:pt x="404480" y="527209"/>
                  <a:pt x="387278" y="534009"/>
                  <a:pt x="369357" y="538160"/>
                </a:cubicBezTo>
                <a:cubicBezTo>
                  <a:pt x="365738" y="546270"/>
                  <a:pt x="363024" y="554756"/>
                  <a:pt x="361261" y="563459"/>
                </a:cubicBezTo>
                <a:cubicBezTo>
                  <a:pt x="359082" y="574856"/>
                  <a:pt x="355690" y="585987"/>
                  <a:pt x="351142" y="596663"/>
                </a:cubicBezTo>
                <a:close/>
                <a:moveTo>
                  <a:pt x="259056" y="585026"/>
                </a:moveTo>
                <a:lnTo>
                  <a:pt x="338809" y="585026"/>
                </a:lnTo>
                <a:cubicBezTo>
                  <a:pt x="341634" y="576740"/>
                  <a:pt x="343957" y="568291"/>
                  <a:pt x="345766" y="559727"/>
                </a:cubicBezTo>
                <a:cubicBezTo>
                  <a:pt x="347926" y="548210"/>
                  <a:pt x="351851" y="537095"/>
                  <a:pt x="357403" y="526776"/>
                </a:cubicBezTo>
                <a:lnTo>
                  <a:pt x="359301" y="523803"/>
                </a:lnTo>
                <a:lnTo>
                  <a:pt x="362779" y="523171"/>
                </a:lnTo>
                <a:cubicBezTo>
                  <a:pt x="381877" y="519133"/>
                  <a:pt x="400144" y="511861"/>
                  <a:pt x="416791" y="501667"/>
                </a:cubicBezTo>
                <a:lnTo>
                  <a:pt x="421092" y="499137"/>
                </a:lnTo>
                <a:lnTo>
                  <a:pt x="425203" y="501920"/>
                </a:lnTo>
                <a:cubicBezTo>
                  <a:pt x="440490" y="512398"/>
                  <a:pt x="456512" y="521761"/>
                  <a:pt x="473143" y="529938"/>
                </a:cubicBezTo>
                <a:cubicBezTo>
                  <a:pt x="507612" y="496038"/>
                  <a:pt x="523044" y="479721"/>
                  <a:pt x="529559" y="472005"/>
                </a:cubicBezTo>
                <a:cubicBezTo>
                  <a:pt x="525638" y="466376"/>
                  <a:pt x="521274" y="459356"/>
                  <a:pt x="516910" y="451197"/>
                </a:cubicBezTo>
                <a:cubicBezTo>
                  <a:pt x="506853" y="433615"/>
                  <a:pt x="503185" y="427480"/>
                  <a:pt x="501920" y="425393"/>
                </a:cubicBezTo>
                <a:lnTo>
                  <a:pt x="498631" y="420206"/>
                </a:lnTo>
                <a:lnTo>
                  <a:pt x="502869" y="415716"/>
                </a:lnTo>
                <a:cubicBezTo>
                  <a:pt x="509006" y="408080"/>
                  <a:pt x="513583" y="399312"/>
                  <a:pt x="516340" y="389912"/>
                </a:cubicBezTo>
                <a:cubicBezTo>
                  <a:pt x="520091" y="379022"/>
                  <a:pt x="524702" y="368448"/>
                  <a:pt x="530128" y="358289"/>
                </a:cubicBezTo>
                <a:lnTo>
                  <a:pt x="532089" y="355126"/>
                </a:lnTo>
                <a:lnTo>
                  <a:pt x="535820" y="354620"/>
                </a:lnTo>
                <a:cubicBezTo>
                  <a:pt x="545145" y="353140"/>
                  <a:pt x="554358" y="351027"/>
                  <a:pt x="563395" y="348296"/>
                </a:cubicBezTo>
                <a:cubicBezTo>
                  <a:pt x="572756" y="345513"/>
                  <a:pt x="580219" y="343426"/>
                  <a:pt x="585531" y="341971"/>
                </a:cubicBezTo>
                <a:lnTo>
                  <a:pt x="585531" y="261838"/>
                </a:lnTo>
                <a:cubicBezTo>
                  <a:pt x="579839" y="260447"/>
                  <a:pt x="572123" y="258297"/>
                  <a:pt x="562130" y="255514"/>
                </a:cubicBezTo>
                <a:cubicBezTo>
                  <a:pt x="553523" y="252704"/>
                  <a:pt x="544703" y="250590"/>
                  <a:pt x="535757" y="249189"/>
                </a:cubicBezTo>
                <a:cubicBezTo>
                  <a:pt x="527978" y="251087"/>
                  <a:pt x="527851" y="250897"/>
                  <a:pt x="504134" y="182022"/>
                </a:cubicBezTo>
                <a:lnTo>
                  <a:pt x="502806" y="178290"/>
                </a:lnTo>
                <a:lnTo>
                  <a:pt x="505019" y="175002"/>
                </a:lnTo>
                <a:cubicBezTo>
                  <a:pt x="511344" y="165325"/>
                  <a:pt x="520957" y="149703"/>
                  <a:pt x="532721" y="127883"/>
                </a:cubicBezTo>
                <a:cubicBezTo>
                  <a:pt x="525764" y="121559"/>
                  <a:pt x="516214" y="112451"/>
                  <a:pt x="503881" y="99739"/>
                </a:cubicBezTo>
                <a:cubicBezTo>
                  <a:pt x="495063" y="89814"/>
                  <a:pt x="485203" y="80866"/>
                  <a:pt x="474472" y="73049"/>
                </a:cubicBezTo>
                <a:cubicBezTo>
                  <a:pt x="469538" y="75516"/>
                  <a:pt x="462328" y="79690"/>
                  <a:pt x="453031" y="85698"/>
                </a:cubicBezTo>
                <a:cubicBezTo>
                  <a:pt x="443673" y="92016"/>
                  <a:pt x="433388" y="96838"/>
                  <a:pt x="422547" y="99992"/>
                </a:cubicBezTo>
                <a:lnTo>
                  <a:pt x="418752" y="101004"/>
                </a:lnTo>
                <a:lnTo>
                  <a:pt x="416222" y="98601"/>
                </a:lnTo>
                <a:cubicBezTo>
                  <a:pt x="408397" y="93265"/>
                  <a:pt x="399887" y="89010"/>
                  <a:pt x="390924" y="85951"/>
                </a:cubicBezTo>
                <a:cubicBezTo>
                  <a:pt x="374733" y="79627"/>
                  <a:pt x="365056" y="76022"/>
                  <a:pt x="361261" y="74314"/>
                </a:cubicBezTo>
                <a:lnTo>
                  <a:pt x="357846" y="72733"/>
                </a:lnTo>
                <a:lnTo>
                  <a:pt x="356454" y="69065"/>
                </a:lnTo>
                <a:cubicBezTo>
                  <a:pt x="349750" y="43450"/>
                  <a:pt x="344691" y="25551"/>
                  <a:pt x="341339" y="15812"/>
                </a:cubicBezTo>
                <a:lnTo>
                  <a:pt x="262597" y="15812"/>
                </a:lnTo>
                <a:cubicBezTo>
                  <a:pt x="260574" y="22642"/>
                  <a:pt x="258233" y="30927"/>
                  <a:pt x="255767" y="40477"/>
                </a:cubicBezTo>
                <a:cubicBezTo>
                  <a:pt x="252605" y="52368"/>
                  <a:pt x="248494" y="67483"/>
                  <a:pt x="247039" y="72100"/>
                </a:cubicBezTo>
                <a:lnTo>
                  <a:pt x="245395" y="77413"/>
                </a:lnTo>
                <a:lnTo>
                  <a:pt x="239892" y="77413"/>
                </a:lnTo>
                <a:cubicBezTo>
                  <a:pt x="238184" y="77413"/>
                  <a:pt x="229077" y="79374"/>
                  <a:pt x="183603" y="99233"/>
                </a:cubicBezTo>
                <a:lnTo>
                  <a:pt x="179429" y="101067"/>
                </a:lnTo>
                <a:lnTo>
                  <a:pt x="175887" y="98664"/>
                </a:lnTo>
                <a:cubicBezTo>
                  <a:pt x="160909" y="88053"/>
                  <a:pt x="145038" y="78763"/>
                  <a:pt x="128453" y="70899"/>
                </a:cubicBezTo>
                <a:cubicBezTo>
                  <a:pt x="94047" y="104546"/>
                  <a:pt x="78552" y="120863"/>
                  <a:pt x="71847" y="128642"/>
                </a:cubicBezTo>
                <a:cubicBezTo>
                  <a:pt x="82260" y="143775"/>
                  <a:pt x="91662" y="159579"/>
                  <a:pt x="99992" y="175950"/>
                </a:cubicBezTo>
                <a:lnTo>
                  <a:pt x="102269" y="180188"/>
                </a:lnTo>
                <a:lnTo>
                  <a:pt x="99549" y="184172"/>
                </a:lnTo>
                <a:cubicBezTo>
                  <a:pt x="93979" y="192851"/>
                  <a:pt x="89296" y="202068"/>
                  <a:pt x="85572" y="211684"/>
                </a:cubicBezTo>
                <a:cubicBezTo>
                  <a:pt x="79247" y="227116"/>
                  <a:pt x="74504" y="236983"/>
                  <a:pt x="71658" y="242232"/>
                </a:cubicBezTo>
                <a:lnTo>
                  <a:pt x="69760" y="245711"/>
                </a:lnTo>
                <a:lnTo>
                  <a:pt x="65839" y="246217"/>
                </a:lnTo>
                <a:cubicBezTo>
                  <a:pt x="56507" y="247659"/>
                  <a:pt x="47292" y="249773"/>
                  <a:pt x="38264" y="252541"/>
                </a:cubicBezTo>
                <a:cubicBezTo>
                  <a:pt x="28650" y="255324"/>
                  <a:pt x="21314" y="257411"/>
                  <a:pt x="16064" y="258866"/>
                </a:cubicBezTo>
                <a:lnTo>
                  <a:pt x="16064" y="338999"/>
                </a:lnTo>
                <a:cubicBezTo>
                  <a:pt x="21820" y="340390"/>
                  <a:pt x="29536" y="342540"/>
                  <a:pt x="39529" y="345323"/>
                </a:cubicBezTo>
                <a:cubicBezTo>
                  <a:pt x="49083" y="348043"/>
                  <a:pt x="58800" y="350156"/>
                  <a:pt x="68622" y="351648"/>
                </a:cubicBezTo>
                <a:lnTo>
                  <a:pt x="74567" y="352407"/>
                </a:lnTo>
                <a:lnTo>
                  <a:pt x="75452" y="358352"/>
                </a:lnTo>
                <a:cubicBezTo>
                  <a:pt x="77200" y="368796"/>
                  <a:pt x="80327" y="378962"/>
                  <a:pt x="84750" y="388583"/>
                </a:cubicBezTo>
                <a:cubicBezTo>
                  <a:pt x="94679" y="410593"/>
                  <a:pt x="96893" y="416222"/>
                  <a:pt x="97399" y="418625"/>
                </a:cubicBezTo>
                <a:lnTo>
                  <a:pt x="98537" y="421977"/>
                </a:lnTo>
                <a:lnTo>
                  <a:pt x="96766" y="425076"/>
                </a:lnTo>
                <a:cubicBezTo>
                  <a:pt x="80259" y="453411"/>
                  <a:pt x="73555" y="466566"/>
                  <a:pt x="70836" y="472637"/>
                </a:cubicBezTo>
                <a:cubicBezTo>
                  <a:pt x="104672" y="506980"/>
                  <a:pt x="120420" y="521527"/>
                  <a:pt x="127757" y="527345"/>
                </a:cubicBezTo>
                <a:cubicBezTo>
                  <a:pt x="132627" y="524815"/>
                  <a:pt x="139584" y="521021"/>
                  <a:pt x="148628" y="515139"/>
                </a:cubicBezTo>
                <a:cubicBezTo>
                  <a:pt x="157902" y="509154"/>
                  <a:pt x="167888" y="504351"/>
                  <a:pt x="178354" y="500845"/>
                </a:cubicBezTo>
                <a:lnTo>
                  <a:pt x="181959" y="499770"/>
                </a:lnTo>
                <a:lnTo>
                  <a:pt x="185058" y="501857"/>
                </a:lnTo>
                <a:cubicBezTo>
                  <a:pt x="186196" y="502489"/>
                  <a:pt x="195240" y="506727"/>
                  <a:pt x="240019" y="526460"/>
                </a:cubicBezTo>
                <a:lnTo>
                  <a:pt x="243054" y="527788"/>
                </a:lnTo>
                <a:lnTo>
                  <a:pt x="244193" y="530887"/>
                </a:lnTo>
                <a:cubicBezTo>
                  <a:pt x="247661" y="540971"/>
                  <a:pt x="250512" y="551258"/>
                  <a:pt x="252731" y="561688"/>
                </a:cubicBezTo>
                <a:cubicBezTo>
                  <a:pt x="254324" y="569600"/>
                  <a:pt x="256437" y="577392"/>
                  <a:pt x="259056" y="585026"/>
                </a:cubicBezTo>
                <a:close/>
              </a:path>
            </a:pathLst>
          </a:custGeom>
          <a:solidFill>
            <a:srgbClr val="7D34AF"/>
          </a:solidFill>
          <a:ln w="6271" cap="flat">
            <a:solidFill>
              <a:schemeClr val="accent1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A624FFAE-EE93-9B32-C079-9484CB7A43CB}"/>
              </a:ext>
            </a:extLst>
          </p:cNvPr>
          <p:cNvSpPr txBox="1">
            <a:spLocks/>
          </p:cNvSpPr>
          <p:nvPr/>
        </p:nvSpPr>
        <p:spPr>
          <a:xfrm>
            <a:off x="6162775" y="5336381"/>
            <a:ext cx="5645786" cy="709301"/>
          </a:xfrm>
          <a:prstGeom prst="rect">
            <a:avLst/>
          </a:prstGeom>
        </p:spPr>
        <p:txBody>
          <a:bodyPr vert="horz" lIns="0" tIns="0" rIns="59436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tabLst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System Font Regular"/>
              <a:buChar char="-"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>
                <a:solidFill>
                  <a:srgbClr val="006DA3"/>
                </a:solidFill>
              </a:rPr>
              <a:t>In-Memory Compute</a:t>
            </a:r>
            <a:br>
              <a:rPr lang="en-US" sz="1600"/>
            </a:br>
            <a:r>
              <a:rPr lang="en-US" sz="1200" b="0">
                <a:solidFill>
                  <a:schemeClr val="tx2"/>
                </a:solidFill>
              </a:rPr>
              <a:t>Business logic executed close where data is collocated, for blazing speed in critical use cases (Ticketing, Fraud Detection, </a:t>
            </a:r>
            <a:r>
              <a:rPr lang="en-US" sz="1200" b="0" err="1">
                <a:solidFill>
                  <a:schemeClr val="tx2"/>
                </a:solidFill>
              </a:rPr>
              <a:t>etc</a:t>
            </a:r>
            <a:r>
              <a:rPr lang="en-US" sz="1200" b="0">
                <a:solidFill>
                  <a:schemeClr val="tx2"/>
                </a:solidFill>
              </a:rPr>
              <a:t>…) across WAN-based deployments for extremely HA and critical apps.</a:t>
            </a:r>
            <a:endParaRPr lang="en-US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98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C58C19-1223-06D7-4251-752B407F47B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effectLst/>
                <a:latin typeface="Arial"/>
                <a:ea typeface="Metropolis" panose="00000500000000000000" pitchFamily="2" charset="0"/>
                <a:cs typeface="Arial"/>
              </a:rPr>
              <a:t>What is VMware </a:t>
            </a: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Tanzu </a:t>
            </a:r>
            <a:r>
              <a:rPr lang="en-US" sz="2400" dirty="0" err="1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GemFire</a:t>
            </a:r>
            <a:r>
              <a:rPr lang="en-US" sz="2400" dirty="0">
                <a:solidFill>
                  <a:srgbClr val="212121"/>
                </a:solidFill>
                <a:effectLst/>
                <a:latin typeface="Arial"/>
                <a:ea typeface="Metropolis" panose="00000500000000000000" pitchFamily="2" charset="0"/>
                <a:cs typeface="Arial"/>
              </a:rPr>
              <a:t>?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Some common usage patterns for </a:t>
            </a:r>
            <a:r>
              <a:rPr lang="en-US" sz="2400" dirty="0" err="1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GemFire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ffectLst/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Some </a:t>
            </a:r>
            <a:r>
              <a:rPr lang="en-US" sz="2400" dirty="0" err="1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GemFire</a:t>
            </a: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 Features</a:t>
            </a:r>
            <a:endParaRPr lang="en-US" sz="2400" dirty="0">
              <a:solidFill>
                <a:srgbClr val="212121"/>
              </a:solidFill>
              <a:effectLst/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What is Spring Caching</a:t>
            </a:r>
            <a:endParaRPr lang="en-US" sz="2400" dirty="0">
              <a:solidFill>
                <a:srgbClr val="212121"/>
              </a:solidFill>
              <a:effectLst/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4999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latin typeface="Arial"/>
              <a:ea typeface="Metropolis" panose="00000500000000000000" pitchFamily="2" charset="0"/>
              <a:cs typeface="Arial"/>
            </a:endParaRPr>
          </a:p>
          <a:p>
            <a:pPr marL="342900" indent="-342900">
              <a:lnSpc>
                <a:spcPct val="114999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How to Use Spring Caching With </a:t>
            </a:r>
            <a:r>
              <a:rPr lang="en-US" sz="2400" dirty="0" err="1">
                <a:solidFill>
                  <a:srgbClr val="212121"/>
                </a:solidFill>
                <a:latin typeface="Arial"/>
                <a:ea typeface="Metropolis" panose="00000500000000000000" pitchFamily="2" charset="0"/>
                <a:cs typeface="Arial"/>
              </a:rPr>
              <a:t>GemFire</a:t>
            </a:r>
            <a:endParaRPr lang="en-US" sz="2400" dirty="0" err="1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effectLst/>
                <a:latin typeface="Arial"/>
                <a:ea typeface="Metropolis" panose="00000500000000000000" pitchFamily="2" charset="0"/>
                <a:cs typeface="Arial"/>
              </a:rPr>
              <a:t>Real World Performance Numbers</a:t>
            </a:r>
          </a:p>
        </p:txBody>
      </p:sp>
    </p:spTree>
    <p:extLst>
      <p:ext uri="{BB962C8B-B14F-4D97-AF65-F5344CB8AC3E}">
        <p14:creationId xmlns:p14="http://schemas.microsoft.com/office/powerpoint/2010/main" val="357978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24A7B-718B-F414-7B81-2F895CEE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499" y="2370029"/>
            <a:ext cx="6427626" cy="1229360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Spring Caching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649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2688B-9D2E-AE79-48D4-0D0488470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0D3634-9D53-0667-4570-72C1838A6EC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Caching done eas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750E9A-FAA2-E2A1-6ED8-4B89B284E4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505" y="1600201"/>
            <a:ext cx="6184345" cy="4572000"/>
          </a:xfrm>
        </p:spPr>
        <p:txBody>
          <a:bodyPr/>
          <a:lstStyle/>
          <a:p>
            <a:r>
              <a:rPr lang="en-US" dirty="0"/>
              <a:t>Provide </a:t>
            </a:r>
            <a:r>
              <a:rPr lang="en-US" b="1" dirty="0"/>
              <a:t>Transparent</a:t>
            </a:r>
            <a:r>
              <a:rPr lang="en-US" dirty="0"/>
              <a:t> caching to an application</a:t>
            </a:r>
          </a:p>
          <a:p>
            <a:pPr lvl="1"/>
            <a:r>
              <a:rPr lang="en-US" dirty="0"/>
              <a:t>Performance</a:t>
            </a:r>
          </a:p>
          <a:p>
            <a:pPr lvl="1"/>
            <a:r>
              <a:rPr lang="en-US" dirty="0"/>
              <a:t>Cost</a:t>
            </a:r>
          </a:p>
          <a:p>
            <a:r>
              <a:rPr lang="en-US" dirty="0"/>
              <a:t>Done through adding @Cacheable to an applications method</a:t>
            </a:r>
          </a:p>
          <a:p>
            <a:pPr lvl="1"/>
            <a:r>
              <a:rPr lang="en-US" dirty="0"/>
              <a:t>Method Parameters Turn into a Key</a:t>
            </a:r>
          </a:p>
          <a:p>
            <a:pPr lvl="1"/>
            <a:r>
              <a:rPr lang="en-US" dirty="0"/>
              <a:t>Value the method returns is the Value</a:t>
            </a:r>
          </a:p>
          <a:p>
            <a:r>
              <a:rPr lang="en-US" dirty="0"/>
              <a:t>From a GemFire perspective an implementation of the cache aside patter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13E0A79-7893-EF00-C6EF-A3E5ADFFFB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8598" y="3886201"/>
            <a:ext cx="2094538" cy="2653395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D7ADD9DC-C8FA-A309-C678-DF44E92500F0}"/>
              </a:ext>
            </a:extLst>
          </p:cNvPr>
          <p:cNvGrpSpPr/>
          <p:nvPr/>
        </p:nvGrpSpPr>
        <p:grpSpPr>
          <a:xfrm>
            <a:off x="8788400" y="1404578"/>
            <a:ext cx="3155950" cy="1724743"/>
            <a:chOff x="8921750" y="4447458"/>
            <a:chExt cx="3155950" cy="1724743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03A00B3C-BB20-87EF-D052-9B740B199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1750" y="5156538"/>
              <a:ext cx="2859373" cy="10156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033B3"/>
                  </a:solidFill>
                  <a:effectLst/>
                  <a:latin typeface="JetBrains Mono"/>
                </a:rPr>
                <a:t>public int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0627A"/>
                  </a:solidFill>
                  <a:effectLst/>
                  <a:latin typeface="JetBrains Mono"/>
                </a:rPr>
                <a:t>add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(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033B3"/>
                  </a:solidFill>
                  <a:effectLst/>
                  <a:latin typeface="JetBrains Mono"/>
                </a:rPr>
                <a:t>int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x,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033B3"/>
                  </a:solidFill>
                  <a:effectLst/>
                  <a:latin typeface="JetBrains Mono"/>
                </a:rPr>
                <a:t>int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y){</a:t>
              </a:r>
              <a:b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</a:b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   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033B3"/>
                  </a:solidFill>
                  <a:effectLst/>
                  <a:latin typeface="JetBrains Mono"/>
                </a:rPr>
                <a:t>return </a:t>
              </a: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x + y;</a:t>
              </a:r>
              <a:b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</a:b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080808"/>
                  </a:solidFill>
                  <a:effectLst/>
                  <a:latin typeface="JetBrains Mono"/>
                </a:rPr>
                <a:t>}</a:t>
              </a:r>
              <a:endParaRPr kumimoji="0" lang="en-US" altLang="en-US" sz="4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Right Brace 17">
              <a:extLst>
                <a:ext uri="{FF2B5EF4-FFF2-40B4-BE49-F238E27FC236}">
                  <a16:creationId xmlns:a16="http://schemas.microsoft.com/office/drawing/2014/main" id="{9EF3002D-8B9F-A40D-B2F3-89294402016B}"/>
                </a:ext>
              </a:extLst>
            </p:cNvPr>
            <p:cNvSpPr/>
            <p:nvPr/>
          </p:nvSpPr>
          <p:spPr bwMode="gray">
            <a:xfrm rot="16200000">
              <a:off x="10882388" y="4543279"/>
              <a:ext cx="234950" cy="974574"/>
            </a:xfrm>
            <a:prstGeom prst="rightBrace">
              <a:avLst/>
            </a:prstGeom>
            <a:ln w="2540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ight Brace 18">
              <a:extLst>
                <a:ext uri="{FF2B5EF4-FFF2-40B4-BE49-F238E27FC236}">
                  <a16:creationId xmlns:a16="http://schemas.microsoft.com/office/drawing/2014/main" id="{6CA19207-B229-DFFB-B192-78A37EFF9964}"/>
                </a:ext>
              </a:extLst>
            </p:cNvPr>
            <p:cNvSpPr/>
            <p:nvPr/>
          </p:nvSpPr>
          <p:spPr bwMode="gray">
            <a:xfrm rot="16200000">
              <a:off x="9679502" y="4809389"/>
              <a:ext cx="243448" cy="450850"/>
            </a:xfrm>
            <a:prstGeom prst="rightBrace">
              <a:avLst/>
            </a:prstGeom>
            <a:ln w="2540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832D67C-FC88-B1C5-E4B0-0051D3EDF50E}"/>
                </a:ext>
              </a:extLst>
            </p:cNvPr>
            <p:cNvSpPr txBox="1"/>
            <p:nvPr/>
          </p:nvSpPr>
          <p:spPr>
            <a:xfrm>
              <a:off x="10668000" y="4447458"/>
              <a:ext cx="14097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Key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7FD2119-4A2C-7C4F-6CA2-FD03DB096202}"/>
                </a:ext>
              </a:extLst>
            </p:cNvPr>
            <p:cNvSpPr txBox="1"/>
            <p:nvPr/>
          </p:nvSpPr>
          <p:spPr>
            <a:xfrm>
              <a:off x="9401176" y="4447458"/>
              <a:ext cx="125095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Val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740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4D1D0-FED1-8F89-4007-120E4C117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D58FE8-1805-2B4C-FDBC-2E0A33AD7395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Key Annot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E5E2B8-2FBA-7B40-F090-DEEF74DF399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sz="2400" b="1" dirty="0"/>
              <a:t>@Cacheable </a:t>
            </a:r>
            <a:r>
              <a:rPr lang="en-US" sz="2400" dirty="0"/>
              <a:t>triggers cache population</a:t>
            </a:r>
          </a:p>
          <a:p>
            <a:endParaRPr lang="en-US" sz="2400" dirty="0"/>
          </a:p>
          <a:p>
            <a:r>
              <a:rPr lang="en-US" sz="2400" b="1" dirty="0"/>
              <a:t>@CacheEvict </a:t>
            </a:r>
            <a:r>
              <a:rPr lang="en-US" sz="2400" dirty="0"/>
              <a:t>triggers cache eviction</a:t>
            </a:r>
          </a:p>
          <a:p>
            <a:endParaRPr lang="en-US" sz="2400" dirty="0"/>
          </a:p>
          <a:p>
            <a:r>
              <a:rPr lang="en-US" sz="2400" b="1" dirty="0"/>
              <a:t>@CachePut </a:t>
            </a:r>
            <a:r>
              <a:rPr lang="en-US" sz="2400" dirty="0"/>
              <a:t>updates the cache without interfering with the method execution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1100" dirty="0">
                <a:latin typeface="OCR-A II" panose="020F0609000104060307" pitchFamily="50" charset="0"/>
                <a:hlinkClick r:id="rId3"/>
              </a:rPr>
              <a:t>https://docs.spring.io/spring-framework/docs/current/javadoc-api/org/springframework/cache/annotation/package-summary.html</a:t>
            </a:r>
            <a:endParaRPr lang="en-US" sz="1100" dirty="0">
              <a:latin typeface="OCR-A II" panose="020F0609000104060307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6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24A7B-718B-F414-7B81-2F895CEE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499" y="2370029"/>
            <a:ext cx="6427626" cy="1229360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Real World Example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632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72B24-2EE6-EA95-586B-1A8C41F6F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120883-5BF7-E923-56DB-FEC1E0997464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Real World Application – What we are going to cache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0AC710AA-BDCC-790A-D492-E93DED281F7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115203" y="1600200"/>
            <a:ext cx="7974294" cy="4572000"/>
          </a:xfrm>
        </p:spPr>
      </p:pic>
    </p:spTree>
    <p:extLst>
      <p:ext uri="{BB962C8B-B14F-4D97-AF65-F5344CB8AC3E}">
        <p14:creationId xmlns:p14="http://schemas.microsoft.com/office/powerpoint/2010/main" val="32635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EC515-D002-628A-EC53-11AE09C21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703523-DE77-68EA-AD19-FD95DEC9220C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Real World Application - Archite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B0C7776-2B99-78D2-A6B5-CA1C401A8A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4303" y="2616542"/>
            <a:ext cx="686318" cy="65019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8C1162B-BF4F-EADD-6C33-320F59548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3116" y="4493477"/>
            <a:ext cx="2160151" cy="486033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1A2ED7A-E54C-0CB9-95B4-17272AAE6FC7}"/>
              </a:ext>
            </a:extLst>
          </p:cNvPr>
          <p:cNvCxnSpPr>
            <a:cxnSpLocks/>
            <a:stCxn id="15" idx="2"/>
          </p:cNvCxnSpPr>
          <p:nvPr/>
        </p:nvCxnSpPr>
        <p:spPr>
          <a:xfrm flipH="1">
            <a:off x="4769183" y="3266738"/>
            <a:ext cx="1088279" cy="122673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8DB1516-7B09-A1C3-18F1-90BEF8431AB3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5857462" y="3266738"/>
            <a:ext cx="345730" cy="122673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754C1A2C-29D7-38B2-F278-38CD9951E0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3750" y="4593670"/>
            <a:ext cx="1523500" cy="58038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0DBF6F9-C211-2E35-AEB5-8972180BFC1B}"/>
              </a:ext>
            </a:extLst>
          </p:cNvPr>
          <p:cNvSpPr txBox="1"/>
          <p:nvPr/>
        </p:nvSpPr>
        <p:spPr>
          <a:xfrm>
            <a:off x="5622925" y="5258551"/>
            <a:ext cx="65659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OCR-A II" panose="020F0609000104060307" pitchFamily="50" charset="0"/>
              </a:rPr>
              <a:t>create region </a:t>
            </a:r>
          </a:p>
          <a:p>
            <a:r>
              <a:rPr lang="en-US" sz="1400" dirty="0">
                <a:latin typeface="OCR-A II" panose="020F0609000104060307" pitchFamily="50" charset="0"/>
              </a:rPr>
              <a:t>	--name=</a:t>
            </a:r>
            <a:r>
              <a:rPr lang="en-US" sz="1400" dirty="0" err="1">
                <a:latin typeface="OCR-A II" panose="020F0609000104060307" pitchFamily="50" charset="0"/>
              </a:rPr>
              <a:t>bikecache</a:t>
            </a:r>
            <a:r>
              <a:rPr lang="en-US" sz="1400" dirty="0">
                <a:latin typeface="OCR-A II" panose="020F0609000104060307" pitchFamily="50" charset="0"/>
              </a:rPr>
              <a:t> </a:t>
            </a:r>
          </a:p>
          <a:p>
            <a:r>
              <a:rPr lang="en-US" sz="1400" dirty="0">
                <a:latin typeface="OCR-A II" panose="020F0609000104060307" pitchFamily="50" charset="0"/>
              </a:rPr>
              <a:t>	--type=PARTITION  </a:t>
            </a:r>
          </a:p>
          <a:p>
            <a:r>
              <a:rPr lang="en-US" sz="1400" dirty="0">
                <a:latin typeface="OCR-A II" panose="020F0609000104060307" pitchFamily="50" charset="0"/>
              </a:rPr>
              <a:t>	--entry-time-to-live-expiration=60 </a:t>
            </a:r>
          </a:p>
          <a:p>
            <a:r>
              <a:rPr lang="en-US" sz="1400" dirty="0">
                <a:latin typeface="OCR-A II" panose="020F0609000104060307" pitchFamily="50" charset="0"/>
              </a:rPr>
              <a:t>	--entry-time-to-live-expiration-action=destroy </a:t>
            </a:r>
          </a:p>
          <a:p>
            <a:r>
              <a:rPr lang="en-US" sz="1400" dirty="0">
                <a:latin typeface="OCR-A II" panose="020F0609000104060307" pitchFamily="50" charset="0"/>
              </a:rPr>
              <a:t>	--enable-statistics=tru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B0C4C4B-8160-5728-7C21-6892D12CAC4D}"/>
              </a:ext>
            </a:extLst>
          </p:cNvPr>
          <p:cNvSpPr txBox="1"/>
          <p:nvPr/>
        </p:nvSpPr>
        <p:spPr>
          <a:xfrm>
            <a:off x="6251939" y="2851284"/>
            <a:ext cx="22888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OCR-A II" panose="020F0609000104060307" pitchFamily="50" charset="0"/>
              </a:rPr>
              <a:t>$ ./</a:t>
            </a:r>
            <a:r>
              <a:rPr lang="en-US" sz="1400" dirty="0" err="1">
                <a:latin typeface="OCR-A II" panose="020F0609000104060307" pitchFamily="50" charset="0"/>
              </a:rPr>
              <a:t>gradlew</a:t>
            </a:r>
            <a:r>
              <a:rPr lang="en-US" sz="1400" dirty="0">
                <a:latin typeface="OCR-A II" panose="020F0609000104060307" pitchFamily="50" charset="0"/>
              </a:rPr>
              <a:t> </a:t>
            </a:r>
            <a:r>
              <a:rPr lang="en-US" sz="1400" dirty="0" err="1">
                <a:latin typeface="OCR-A II" panose="020F0609000104060307" pitchFamily="50" charset="0"/>
              </a:rPr>
              <a:t>bootRun</a:t>
            </a:r>
            <a:endParaRPr lang="en-US" sz="1400" dirty="0">
              <a:latin typeface="OCR-A II" panose="020F0609000104060307" pitchFamily="50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F432066-A558-E433-05F5-20679303DB71}"/>
              </a:ext>
            </a:extLst>
          </p:cNvPr>
          <p:cNvSpPr txBox="1"/>
          <p:nvPr/>
        </p:nvSpPr>
        <p:spPr>
          <a:xfrm>
            <a:off x="279400" y="5258551"/>
            <a:ext cx="4360168" cy="2520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rgbClr val="636466"/>
                </a:solidFill>
                <a:effectLst/>
                <a:latin typeface="OCR-A II" panose="020F0609000104060307" pitchFamily="50" charset="0"/>
              </a:rPr>
              <a:t>https://bikeindex.org:443/api/v3/search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OCR-A II" panose="020F0609000104060307" pitchFamily="50" charset="0"/>
              </a:rPr>
              <a:t> </a:t>
            </a: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8560168B-4864-8EA7-670D-3DAE0E2F15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10211"/>
            <a:ext cx="65" cy="677623"/>
          </a:xfrm>
          <a:prstGeom prst="rect">
            <a:avLst/>
          </a:prstGeom>
          <a:solidFill>
            <a:srgbClr val="FCF6D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79350" rIns="0" bIns="3174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080A3DC-8F9C-9184-5AD3-F7BBDDB45B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248" r="248"/>
          <a:stretch/>
        </p:blipFill>
        <p:spPr>
          <a:xfrm>
            <a:off x="4547651" y="1102003"/>
            <a:ext cx="2834640" cy="934462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EDB9E5A-6EA1-E606-A099-05517825FF6D}"/>
              </a:ext>
            </a:extLst>
          </p:cNvPr>
          <p:cNvCxnSpPr>
            <a:cxnSpLocks/>
            <a:endCxn id="15" idx="0"/>
          </p:cNvCxnSpPr>
          <p:nvPr/>
        </p:nvCxnSpPr>
        <p:spPr>
          <a:xfrm flipH="1">
            <a:off x="5857462" y="1863652"/>
            <a:ext cx="23088" cy="75289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670BB20-560C-72E7-BC08-D69DC5C9A4A4}"/>
              </a:ext>
            </a:extLst>
          </p:cNvPr>
          <p:cNvSpPr txBox="1"/>
          <p:nvPr/>
        </p:nvSpPr>
        <p:spPr>
          <a:xfrm>
            <a:off x="7655600" y="1216184"/>
            <a:ext cx="33299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OCR-A II" panose="020F0609000104060307" pitchFamily="50" charset="0"/>
              </a:rPr>
              <a:t>Call the “Value Add” Service and measure performance</a:t>
            </a:r>
          </a:p>
        </p:txBody>
      </p:sp>
    </p:spTree>
    <p:extLst>
      <p:ext uri="{BB962C8B-B14F-4D97-AF65-F5344CB8AC3E}">
        <p14:creationId xmlns:p14="http://schemas.microsoft.com/office/powerpoint/2010/main" val="298558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F1B613-2B30-7EA6-F9B8-D92BD505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C2DE1A-2768-D65F-704C-52DB91EE7465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Real World Application – The “Value Add” wrapping of Bike Index REST API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4F1B74AB-C47A-A28C-7613-9242DB280DDD}"/>
              </a:ext>
            </a:extLst>
          </p:cNvPr>
          <p:cNvSpPr>
            <a:spLocks noGrp="1" noChangeArrowheads="1"/>
          </p:cNvSpPr>
          <p:nvPr>
            <p:ph sz="quarter" idx="14"/>
          </p:nvPr>
        </p:nvSpPr>
        <p:spPr bwMode="auto">
          <a:xfrm>
            <a:off x="616505" y="1131603"/>
            <a:ext cx="9895466" cy="5509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EnableCachingDefinedRegions  //Tell Spring to use GemFire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SpringBootApplication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stController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public class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moApplicatio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{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Cacheabl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bikecache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Mapping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/search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public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ing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27A"/>
                </a:solidFill>
                <a:effectLst/>
                <a:latin typeface="JetBrains Mono"/>
              </a:rPr>
              <a:t>search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Param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value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page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required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als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defaultValu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1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t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page,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         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Param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value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per_pag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required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als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defaultValu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25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t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perPag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         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Param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value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location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required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tru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t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location,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         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Param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value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distance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required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als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defaultValu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10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t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distance,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         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9E880D"/>
                </a:solidFill>
                <a:effectLst/>
                <a:latin typeface="JetBrains Mono"/>
              </a:rPr>
              <a:t>@RequestParam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value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stolenness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required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als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defaultValu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=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proximity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ing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stolenness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dirty="0">
                <a:solidFill>
                  <a:srgbClr val="080808"/>
                </a:solidFill>
                <a:latin typeface="JetBrains Mono"/>
              </a:rPr>
              <a:t>                                                                                                                              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throws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OExceptio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RISyntaxExceptio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{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retur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callRestServic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getUri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page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perPage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location, distance, stolenness));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dirty="0">
                <a:solidFill>
                  <a:srgbClr val="080808"/>
                </a:solidFill>
                <a:latin typeface="JetBrains Mono"/>
              </a:rPr>
              <a:t>…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rgbClr val="080808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public static void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27A"/>
                </a:solidFill>
                <a:effectLst/>
                <a:latin typeface="JetBrains Mono"/>
              </a:rPr>
              <a:t>mai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ing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[]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arg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 {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ystem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.</a:t>
            </a:r>
            <a:r>
              <a:rPr kumimoji="0" lang="en-US" altLang="en-US" sz="1600" b="0" i="1" u="none" strike="noStrike" cap="none" normalizeH="0" baseline="0" dirty="0" err="1">
                <a:ln>
                  <a:noFill/>
                </a:ln>
                <a:solidFill>
                  <a:srgbClr val="871094"/>
                </a:solidFill>
                <a:effectLst/>
                <a:latin typeface="JetBrains Mono"/>
              </a:rPr>
              <a:t>out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.printl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DemoApplication.mai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"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;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   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pringApplication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.</a:t>
            </a:r>
            <a:r>
              <a:rPr kumimoji="0" lang="en-US" altLang="en-US" sz="1600" b="0" i="1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ru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(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moApplication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.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clas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,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arg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);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    }</a:t>
            </a:r>
            <a:b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</a:b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80808"/>
                </a:solidFill>
                <a:effectLst/>
                <a:latin typeface="JetBrains Mono"/>
              </a:rPr>
              <a:t>}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045C1EC-5560-79FC-A24A-7861C28CA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55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430898-D1CC-DAEC-4ED7-08D9FB41D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1E5FC0-A042-0AB2-A4F0-2CA265BF4656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Cache Miss Call Using Postman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67E6F96-96FD-8FC8-E187-147332DD677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967923" y="1690381"/>
            <a:ext cx="8268854" cy="4391638"/>
          </a:xfrm>
        </p:spPr>
      </p:pic>
      <p:pic>
        <p:nvPicPr>
          <p:cNvPr id="4" name="Content Placeholder 9">
            <a:extLst>
              <a:ext uri="{FF2B5EF4-FFF2-40B4-BE49-F238E27FC236}">
                <a16:creationId xmlns:a16="http://schemas.microsoft.com/office/drawing/2014/main" id="{EEB8D0D8-AFC8-5AF1-DA81-0358D2EEDF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9766" t="65557" r="22166" b="21940"/>
          <a:stretch/>
        </p:blipFill>
        <p:spPr>
          <a:xfrm>
            <a:off x="7303168" y="4106032"/>
            <a:ext cx="1633362" cy="1344273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8328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080F5-2B9A-DF91-ED7F-A8319CEF9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A5860F-8F53-732B-0392-4B3AFD206384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Cache Hit Call Using Postma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AE7C0DC-D2BD-F712-CFA9-E97D06CE9BE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001265" y="1709433"/>
            <a:ext cx="8202170" cy="4353533"/>
          </a:xfrm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9BC5A4A3-7EEB-ADD9-66A5-A79B92541A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305" t="67666" r="21697" b="21138"/>
          <a:stretch/>
        </p:blipFill>
        <p:spPr>
          <a:xfrm>
            <a:off x="7363325" y="4255301"/>
            <a:ext cx="1510265" cy="1282913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5BB077E-91D0-1E80-D7D9-8385C37C5AB3}"/>
              </a:ext>
            </a:extLst>
          </p:cNvPr>
          <p:cNvSpPr txBox="1"/>
          <p:nvPr/>
        </p:nvSpPr>
        <p:spPr>
          <a:xfrm rot="20688490">
            <a:off x="3760404" y="3343267"/>
            <a:ext cx="4348408" cy="871713"/>
          </a:xfrm>
          <a:prstGeom prst="rect">
            <a:avLst/>
          </a:prstGeom>
          <a:noFill/>
          <a:effectLst>
            <a:glow rad="139700">
              <a:schemeClr val="accent5">
                <a:satMod val="175000"/>
                <a:alpha val="40000"/>
              </a:schemeClr>
            </a:glow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US" sz="4800" dirty="0">
                <a:solidFill>
                  <a:srgbClr val="002060"/>
                </a:solidFill>
              </a:rPr>
              <a:t>195 X Faster!!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34FF37-A234-86FC-6BB2-01192DAA98F8}"/>
              </a:ext>
            </a:extLst>
          </p:cNvPr>
          <p:cNvSpPr txBox="1"/>
          <p:nvPr/>
        </p:nvSpPr>
        <p:spPr>
          <a:xfrm>
            <a:off x="1274723" y="5323228"/>
            <a:ext cx="4071977" cy="871713"/>
          </a:xfrm>
          <a:prstGeom prst="rect">
            <a:avLst/>
          </a:prstGeom>
          <a:solidFill>
            <a:schemeClr val="bg1">
              <a:alpha val="80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US" sz="4800" dirty="0">
                <a:solidFill>
                  <a:srgbClr val="002060"/>
                </a:solidFill>
              </a:rPr>
              <a:t>5ms vs 974ms</a:t>
            </a:r>
          </a:p>
        </p:txBody>
      </p:sp>
      <p:pic>
        <p:nvPicPr>
          <p:cNvPr id="5124" name="Picture 4" descr="r/Fallout - Turns out the whole Vault boy holding up his thumb to see the size of a cloud was BS. :/">
            <a:extLst>
              <a:ext uri="{FF2B5EF4-FFF2-40B4-BE49-F238E27FC236}">
                <a16:creationId xmlns:a16="http://schemas.microsoft.com/office/drawing/2014/main" id="{077182A4-BAD0-900D-7BA5-139C2FE3B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7214" y="4948208"/>
            <a:ext cx="1987827" cy="1357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77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F6036-26F8-8796-90FB-073FDDEC4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g C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072E50-B53A-2EDD-6DD8-B1F3A2635AB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What it looks like in GemFi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AF96B8-0EA0-B39D-192D-78E5138D4BD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err="1">
                <a:latin typeface="OCR-A II" panose="020F0609000104060307" pitchFamily="50" charset="0"/>
              </a:rPr>
              <a:t>gfsh</a:t>
            </a:r>
            <a:r>
              <a:rPr lang="en-US" dirty="0">
                <a:latin typeface="OCR-A II" panose="020F0609000104060307" pitchFamily="50" charset="0"/>
              </a:rPr>
              <a:t>&gt;query --query="select * from /</a:t>
            </a:r>
            <a:r>
              <a:rPr lang="en-US" dirty="0" err="1">
                <a:latin typeface="OCR-A II" panose="020F0609000104060307" pitchFamily="50" charset="0"/>
              </a:rPr>
              <a:t>bikecache.entries</a:t>
            </a:r>
            <a:r>
              <a:rPr lang="en-US" dirty="0">
                <a:latin typeface="OCR-A II" panose="020F0609000104060307" pitchFamily="50" charset="0"/>
              </a:rPr>
              <a:t>"</a:t>
            </a:r>
          </a:p>
          <a:p>
            <a:r>
              <a:rPr lang="en-US" dirty="0">
                <a:latin typeface="OCR-A II" panose="020F0609000104060307" pitchFamily="50" charset="0"/>
              </a:rPr>
              <a:t>Result : true</a:t>
            </a:r>
          </a:p>
          <a:p>
            <a:r>
              <a:rPr lang="en-US" dirty="0">
                <a:latin typeface="OCR-A II" panose="020F0609000104060307" pitchFamily="50" charset="0"/>
              </a:rPr>
              <a:t>Limit  : 100</a:t>
            </a:r>
          </a:p>
          <a:p>
            <a:r>
              <a:rPr lang="en-US" dirty="0">
                <a:latin typeface="OCR-A II" panose="020F0609000104060307" pitchFamily="50" charset="0"/>
              </a:rPr>
              <a:t>Rows   : 1</a:t>
            </a:r>
          </a:p>
          <a:p>
            <a:endParaRPr lang="en-US" dirty="0">
              <a:latin typeface="OCR-A II" panose="020F0609000104060307" pitchFamily="50" charset="0"/>
            </a:endParaRPr>
          </a:p>
          <a:p>
            <a:r>
              <a:rPr lang="en-US" dirty="0" err="1">
                <a:latin typeface="OCR-A II" panose="020F0609000104060307" pitchFamily="50" charset="0"/>
              </a:rPr>
              <a:t>SimpleKey</a:t>
            </a:r>
            <a:r>
              <a:rPr lang="en-US" dirty="0">
                <a:latin typeface="OCR-A II" panose="020F0609000104060307" pitchFamily="50" charset="0"/>
              </a:rPr>
              <a:t> [1,25,94111,10,proximity]</a:t>
            </a:r>
          </a:p>
          <a:p>
            <a:r>
              <a:rPr lang="en-US" dirty="0">
                <a:latin typeface="OCR-A II" panose="020F0609000104060307" pitchFamily="50" charset="0"/>
              </a:rPr>
              <a:t>-----------------------------------------------------------------------"{\"</a:t>
            </a:r>
            <a:r>
              <a:rPr lang="en-US" dirty="0" err="1">
                <a:latin typeface="OCR-A II" panose="020F0609000104060307" pitchFamily="50" charset="0"/>
              </a:rPr>
              <a:t>initialResponseTimeMS</a:t>
            </a:r>
            <a:r>
              <a:rPr lang="en-US" dirty="0">
                <a:latin typeface="OCR-A II" panose="020F0609000104060307" pitchFamily="50" charset="0"/>
              </a:rPr>
              <a:t>\":967,\"bikes\":[{\"</a:t>
            </a:r>
            <a:r>
              <a:rPr lang="en-US" dirty="0" err="1">
                <a:latin typeface="OCR-A II" panose="020F0609000104060307" pitchFamily="50" charset="0"/>
              </a:rPr>
              <a:t>registry_url</a:t>
            </a:r>
            <a:r>
              <a:rPr lang="en-US" dirty="0">
                <a:latin typeface="OCR-A II" panose="020F0609000104060307" pitchFamily="50" charset="0"/>
              </a:rPr>
              <a:t>\":null,\"</a:t>
            </a:r>
            <a:r>
              <a:rPr lang="en-US" dirty="0" err="1">
                <a:latin typeface="OCR-A II" panose="020F0609000104060307" pitchFamily="50" charset="0"/>
              </a:rPr>
              <a:t>st</a:t>
            </a:r>
            <a:endParaRPr lang="en-US" dirty="0">
              <a:latin typeface="OCR-A II" panose="020F0609000104060307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F0F15D-CCD6-AD1E-1A71-D8AD379D89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4101" y="2551125"/>
            <a:ext cx="7640116" cy="100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5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35F49-31D0-B455-AC06-FE44189B2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791" y="2060584"/>
            <a:ext cx="6427626" cy="1229360"/>
          </a:xfrm>
        </p:spPr>
        <p:txBody>
          <a:bodyPr/>
          <a:lstStyle/>
          <a:p>
            <a:r>
              <a:rPr lang="en-US"/>
              <a:t>What is VMware GemFire?</a:t>
            </a:r>
          </a:p>
        </p:txBody>
      </p:sp>
    </p:spTree>
    <p:extLst>
      <p:ext uri="{BB962C8B-B14F-4D97-AF65-F5344CB8AC3E}">
        <p14:creationId xmlns:p14="http://schemas.microsoft.com/office/powerpoint/2010/main" val="348096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525DA-AC93-3395-C2B6-39828F542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a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020BCC-2553-B953-44BF-E8B309AC82D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5957" y="1331845"/>
            <a:ext cx="6476211" cy="4572000"/>
          </a:xfrm>
        </p:spPr>
        <p:txBody>
          <a:bodyPr>
            <a:normAutofit fontScale="85000" lnSpcReduction="20000"/>
          </a:bodyPr>
          <a:lstStyle/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rgbClr val="212121"/>
                </a:solidFill>
                <a:ea typeface="Metropolis" panose="00000500000000000000" pitchFamily="2" charset="0"/>
                <a:cs typeface="Arial" panose="020B0604020202020204" pitchFamily="34" charset="0"/>
              </a:rPr>
              <a:t>We discussed:</a:t>
            </a:r>
          </a:p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ea typeface="Metropolis" panose="00000500000000000000" pitchFamily="2" charset="0"/>
                <a:cs typeface="Arial" panose="020B0604020202020204" pitchFamily="34" charset="0"/>
              </a:rPr>
              <a:t>What is GemFire and how to use it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ffectLst/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121"/>
                </a:solidFill>
                <a:effectLst/>
                <a:ea typeface="Metropolis" panose="00000500000000000000" pitchFamily="2" charset="0"/>
                <a:cs typeface="Arial" panose="020B0604020202020204" pitchFamily="34" charset="0"/>
              </a:rPr>
              <a:t>How to keep your data safe with GemFire from a server, rack or datacenter fault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121"/>
              </a:solidFill>
              <a:ea typeface="Metropolis" panose="00000500000000000000" pitchFamily="2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How GemFire can keep your systems running around the glob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ome use cases </a:t>
            </a:r>
            <a:r>
              <a:rPr lang="en-US" sz="2400"/>
              <a:t>around GemFire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Used Spring Caching and Observed a 195 X performance increase</a:t>
            </a:r>
          </a:p>
        </p:txBody>
      </p:sp>
      <p:pic>
        <p:nvPicPr>
          <p:cNvPr id="4" name="Picture 3" descr="A logo of a computer server">
            <a:extLst>
              <a:ext uri="{FF2B5EF4-FFF2-40B4-BE49-F238E27FC236}">
                <a16:creationId xmlns:a16="http://schemas.microsoft.com/office/drawing/2014/main" id="{95C6F1C5-EAEB-B3C5-50C5-7DE8FB4A6A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2168" y="954155"/>
            <a:ext cx="4738857" cy="4721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0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ACAC8E8-93DE-E85A-E6ED-F986DB2F19D3}"/>
              </a:ext>
            </a:extLst>
          </p:cNvPr>
          <p:cNvSpPr txBox="1"/>
          <p:nvPr/>
        </p:nvSpPr>
        <p:spPr>
          <a:xfrm>
            <a:off x="762914" y="1492841"/>
            <a:ext cx="8460599" cy="3261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/>
              <a:t>To learn more head over to:  </a:t>
            </a:r>
            <a:r>
              <a:rPr lang="en-US" sz="2800">
                <a:hlinkClick r:id="rId2"/>
              </a:rPr>
              <a:t>https://gemfire.dev/</a:t>
            </a:r>
            <a:endParaRPr lang="en-US" sz="280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Documentat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Downloa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Exampl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Blog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Videos</a:t>
            </a:r>
          </a:p>
        </p:txBody>
      </p:sp>
      <p:pic>
        <p:nvPicPr>
          <p:cNvPr id="7" name="Picture 6" descr="A logo of a computer server">
            <a:extLst>
              <a:ext uri="{FF2B5EF4-FFF2-40B4-BE49-F238E27FC236}">
                <a16:creationId xmlns:a16="http://schemas.microsoft.com/office/drawing/2014/main" id="{444ADB7A-8F18-D5B4-FD78-91140F65AC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0160" y="860811"/>
            <a:ext cx="4480328" cy="446352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C18E63A-937F-CC9F-2A41-4979C57AF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809" y="412751"/>
            <a:ext cx="11001004" cy="381000"/>
          </a:xfrm>
        </p:spPr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68E5AC-0F6B-14CB-5036-913016C4FC31}"/>
              </a:ext>
            </a:extLst>
          </p:cNvPr>
          <p:cNvSpPr txBox="1"/>
          <p:nvPr/>
        </p:nvSpPr>
        <p:spPr>
          <a:xfrm>
            <a:off x="1028700" y="5792926"/>
            <a:ext cx="9618018" cy="3268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30000"/>
              </a:lnSpc>
            </a:pPr>
            <a:r>
              <a:rPr lang="en-US" dirty="0">
                <a:solidFill>
                  <a:schemeClr val="tx2"/>
                </a:solidFill>
              </a:rPr>
              <a:t>Source Code for slides: https://github.com/charliemblack/gemfire-cacheable-rest-demo</a:t>
            </a:r>
            <a:endParaRPr lang="en-US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07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161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066A479-314D-C849-BC91-B8ACD6FBF6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364" y="833741"/>
            <a:ext cx="5462158" cy="3200400"/>
          </a:xfrm>
        </p:spPr>
        <p:txBody>
          <a:bodyPr anchor="ctr"/>
          <a:lstStyle/>
          <a:p>
            <a:pPr marL="0" indent="0">
              <a:buNone/>
            </a:pPr>
            <a:r>
              <a:rPr lang="en-US" sz="2400">
                <a:solidFill>
                  <a:schemeClr val="tx2"/>
                </a:solidFill>
              </a:rPr>
              <a:t>VMware GemFire is an enterprise grade, high speed </a:t>
            </a:r>
            <a:r>
              <a:rPr lang="en-US" sz="2400">
                <a:solidFill>
                  <a:srgbClr val="0070C0"/>
                </a:solidFill>
              </a:rPr>
              <a:t>in-memory data and compute grid </a:t>
            </a:r>
            <a:r>
              <a:rPr lang="en-US" sz="2400">
                <a:solidFill>
                  <a:schemeClr val="tx2"/>
                </a:solidFill>
              </a:rPr>
              <a:t>for high-performance, </a:t>
            </a:r>
            <a:r>
              <a:rPr lang="en-US" sz="2400">
                <a:solidFill>
                  <a:srgbClr val="0070C0"/>
                </a:solidFill>
              </a:rPr>
              <a:t>low latency applications </a:t>
            </a:r>
            <a:r>
              <a:rPr lang="en-US" sz="2400">
                <a:solidFill>
                  <a:schemeClr val="tx2"/>
                </a:solidFill>
              </a:rPr>
              <a:t>where data must be consistent, up to date and </a:t>
            </a:r>
            <a:r>
              <a:rPr lang="en-US" sz="2400">
                <a:solidFill>
                  <a:srgbClr val="78BE20"/>
                </a:solidFill>
              </a:rPr>
              <a:t>delivered with sub-millisecond response times</a:t>
            </a:r>
            <a:r>
              <a:rPr lang="en-US" sz="2400">
                <a:solidFill>
                  <a:schemeClr val="tx2"/>
                </a:solidFill>
              </a:rPr>
              <a:t> at scale, across multiple data centers </a:t>
            </a:r>
          </a:p>
        </p:txBody>
      </p:sp>
      <p:pic>
        <p:nvPicPr>
          <p:cNvPr id="2" name="Picture 1" descr="A logo of a computer server">
            <a:extLst>
              <a:ext uri="{FF2B5EF4-FFF2-40B4-BE49-F238E27FC236}">
                <a16:creationId xmlns:a16="http://schemas.microsoft.com/office/drawing/2014/main" id="{270689A6-C0A1-DD3C-8027-5D184020C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747" y="4034141"/>
            <a:ext cx="2391462" cy="238249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756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066A479-314D-C849-BC91-B8ACD6FBF6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364" y="833741"/>
            <a:ext cx="5462158" cy="3200400"/>
          </a:xfrm>
        </p:spPr>
        <p:txBody>
          <a:bodyPr anchor="ctr"/>
          <a:lstStyle/>
          <a:p>
            <a:pPr marL="0" indent="0">
              <a:buNone/>
            </a:pPr>
            <a:r>
              <a:rPr lang="en-US" sz="2400">
                <a:solidFill>
                  <a:schemeClr val="tx2"/>
                </a:solidFill>
              </a:rPr>
              <a:t>VMware GemFire is an enterprise grade, high speed </a:t>
            </a:r>
            <a:r>
              <a:rPr lang="en-US" sz="2400">
                <a:solidFill>
                  <a:srgbClr val="0070C0"/>
                </a:solidFill>
              </a:rPr>
              <a:t>in-memory data and compute grid </a:t>
            </a:r>
            <a:r>
              <a:rPr lang="en-US" sz="2400">
                <a:solidFill>
                  <a:schemeClr val="tx2"/>
                </a:solidFill>
              </a:rPr>
              <a:t>for high-performance, </a:t>
            </a:r>
            <a:r>
              <a:rPr lang="en-US" sz="2400">
                <a:solidFill>
                  <a:srgbClr val="0070C0"/>
                </a:solidFill>
              </a:rPr>
              <a:t>low latency applications </a:t>
            </a:r>
            <a:r>
              <a:rPr lang="en-US" sz="2400">
                <a:solidFill>
                  <a:schemeClr val="tx2"/>
                </a:solidFill>
              </a:rPr>
              <a:t>where data must be consistent, up to date and </a:t>
            </a:r>
            <a:r>
              <a:rPr lang="en-US" sz="2400">
                <a:solidFill>
                  <a:srgbClr val="78BE20"/>
                </a:solidFill>
              </a:rPr>
              <a:t>delivered with sub-millisecond response times</a:t>
            </a:r>
            <a:r>
              <a:rPr lang="en-US" sz="2400">
                <a:solidFill>
                  <a:schemeClr val="tx2"/>
                </a:solidFill>
              </a:rPr>
              <a:t> at scale, across multiple data centers </a:t>
            </a:r>
          </a:p>
        </p:txBody>
      </p:sp>
      <p:pic>
        <p:nvPicPr>
          <p:cNvPr id="2" name="Picture 1" descr="A logo of a computer server">
            <a:extLst>
              <a:ext uri="{FF2B5EF4-FFF2-40B4-BE49-F238E27FC236}">
                <a16:creationId xmlns:a16="http://schemas.microsoft.com/office/drawing/2014/main" id="{270689A6-C0A1-DD3C-8027-5D184020C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747" y="4034141"/>
            <a:ext cx="2391462" cy="2382494"/>
          </a:xfrm>
          <a:prstGeom prst="rect">
            <a:avLst/>
          </a:prstGeom>
          <a:effectLst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3092A6-AF3E-B1AF-A4D4-9A8DFE90A09D}"/>
              </a:ext>
            </a:extLst>
          </p:cNvPr>
          <p:cNvSpPr txBox="1"/>
          <p:nvPr/>
        </p:nvSpPr>
        <p:spPr>
          <a:xfrm>
            <a:off x="878666" y="4970119"/>
            <a:ext cx="5235921" cy="10672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30000"/>
              </a:lnSpc>
            </a:pPr>
            <a:r>
              <a:rPr lang="en-US" sz="2800" dirty="0">
                <a:solidFill>
                  <a:schemeClr val="tx2"/>
                </a:solidFill>
                <a:latin typeface="Arial"/>
                <a:cs typeface="Arial"/>
              </a:rPr>
              <a:t>Fast!!!</a:t>
            </a:r>
            <a:endParaRPr lang="en-US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</a:pPr>
            <a:r>
              <a:rPr lang="en-US" sz="2800" dirty="0">
                <a:solidFill>
                  <a:schemeClr val="tx2"/>
                </a:solidFill>
                <a:latin typeface="Arial"/>
                <a:cs typeface="Arial"/>
              </a:rPr>
              <a:t>Makes it AWESOME for caching!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2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 descr="cpu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056" y="3209558"/>
            <a:ext cx="613323" cy="613323"/>
          </a:xfrm>
          <a:prstGeom prst="rect">
            <a:avLst/>
          </a:prstGeom>
        </p:spPr>
      </p:pic>
      <p:pic>
        <p:nvPicPr>
          <p:cNvPr id="73" name="Picture 72" descr="cpu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343" y="3218182"/>
            <a:ext cx="613323" cy="613323"/>
          </a:xfrm>
          <a:prstGeom prst="rect">
            <a:avLst/>
          </a:prstGeom>
        </p:spPr>
      </p:pic>
      <p:pic>
        <p:nvPicPr>
          <p:cNvPr id="3" name="Picture 2" descr="cpu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700" y="3212367"/>
            <a:ext cx="613323" cy="613323"/>
          </a:xfrm>
          <a:prstGeom prst="rect">
            <a:avLst/>
          </a:prstGeom>
        </p:spPr>
      </p:pic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mory Biased Performance</a:t>
            </a:r>
          </a:p>
        </p:txBody>
      </p:sp>
      <p:sp>
        <p:nvSpPr>
          <p:cNvPr id="62472" name="Text Box 8"/>
          <p:cNvSpPr txBox="1">
            <a:spLocks noChangeArrowheads="1"/>
          </p:cNvSpPr>
          <p:nvPr/>
        </p:nvSpPr>
        <p:spPr bwMode="auto">
          <a:xfrm>
            <a:off x="4676615" y="869030"/>
            <a:ext cx="184731" cy="584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endParaRPr lang="en-US" sz="3199"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2474" name="Text Box 10"/>
          <p:cNvSpPr txBox="1">
            <a:spLocks noChangeArrowheads="1"/>
          </p:cNvSpPr>
          <p:nvPr/>
        </p:nvSpPr>
        <p:spPr bwMode="auto">
          <a:xfrm>
            <a:off x="624254" y="5229790"/>
            <a:ext cx="10834511" cy="1076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3199">
                <a:latin typeface="Arial" panose="020B0604020202020204" pitchFamily="34" charset="0"/>
                <a:ea typeface="ＭＳ Ｐゴシック"/>
                <a:cs typeface="ＭＳ Ｐゴシック"/>
              </a:rPr>
              <a:t>Optionally </a:t>
            </a:r>
            <a:r>
              <a:rPr lang="mr-IN" sz="3199">
                <a:latin typeface="Arial" panose="020B0604020202020204" pitchFamily="34" charset="0"/>
                <a:ea typeface="ＭＳ Ｐゴシック"/>
                <a:cs typeface="ＭＳ Ｐゴシック"/>
              </a:rPr>
              <a:t>–</a:t>
            </a:r>
            <a:r>
              <a:rPr lang="en-US" sz="3199">
                <a:latin typeface="Arial" panose="020B0604020202020204" pitchFamily="34" charset="0"/>
                <a:ea typeface="ＭＳ Ｐゴシック"/>
                <a:cs typeface="ＭＳ Ｐゴシック"/>
              </a:rPr>
              <a:t> reliably write updates to disk, </a:t>
            </a:r>
          </a:p>
          <a:p>
            <a:pPr algn="ctr">
              <a:defRPr/>
            </a:pPr>
            <a:r>
              <a:rPr lang="en-US" sz="3199">
                <a:latin typeface="Arial" panose="020B0604020202020204" pitchFamily="34" charset="0"/>
                <a:ea typeface="ＭＳ Ｐゴシック"/>
                <a:cs typeface="ＭＳ Ｐゴシック"/>
              </a:rPr>
              <a:t>or to a data warehouse, asynchronously or synchronously. 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314584" y="3127743"/>
            <a:ext cx="6269844" cy="1581113"/>
            <a:chOff x="2486586" y="2345748"/>
            <a:chExt cx="4703608" cy="1186144"/>
          </a:xfrm>
        </p:grpSpPr>
        <p:pic>
          <p:nvPicPr>
            <p:cNvPr id="7" name="Picture 6" descr="hard-disk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7380" y="3040878"/>
              <a:ext cx="491014" cy="491014"/>
            </a:xfrm>
            <a:prstGeom prst="rect">
              <a:avLst/>
            </a:prstGeom>
          </p:spPr>
        </p:pic>
        <p:pic>
          <p:nvPicPr>
            <p:cNvPr id="79" name="Picture 78" descr="hard-disk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3474" y="3036115"/>
              <a:ext cx="491014" cy="491014"/>
            </a:xfrm>
            <a:prstGeom prst="rect">
              <a:avLst/>
            </a:prstGeom>
          </p:spPr>
        </p:pic>
        <p:pic>
          <p:nvPicPr>
            <p:cNvPr id="80" name="Picture 79" descr="hard-disk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2906" y="3040878"/>
              <a:ext cx="491014" cy="491014"/>
            </a:xfrm>
            <a:prstGeom prst="rect">
              <a:avLst/>
            </a:prstGeom>
          </p:spPr>
        </p:pic>
        <p:pic>
          <p:nvPicPr>
            <p:cNvPr id="5" name="Picture 4" descr="ram-memory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0519" y="2345748"/>
              <a:ext cx="585201" cy="585201"/>
            </a:xfrm>
            <a:prstGeom prst="rect">
              <a:avLst/>
            </a:prstGeom>
          </p:spPr>
        </p:pic>
        <p:pic>
          <p:nvPicPr>
            <p:cNvPr id="76" name="Picture 75" descr="ram-memory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1087" y="2345748"/>
              <a:ext cx="585201" cy="585201"/>
            </a:xfrm>
            <a:prstGeom prst="rect">
              <a:avLst/>
            </a:prstGeom>
          </p:spPr>
        </p:pic>
        <p:pic>
          <p:nvPicPr>
            <p:cNvPr id="77" name="Picture 76" descr="ram-memory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4993" y="2345748"/>
              <a:ext cx="585201" cy="585201"/>
            </a:xfrm>
            <a:prstGeom prst="rect">
              <a:avLst/>
            </a:prstGeom>
          </p:spPr>
        </p:pic>
        <p:grpSp>
          <p:nvGrpSpPr>
            <p:cNvPr id="22541" name="Group 14"/>
            <p:cNvGrpSpPr>
              <a:grpSpLocks/>
            </p:cNvGrpSpPr>
            <p:nvPr/>
          </p:nvGrpSpPr>
          <p:grpSpPr bwMode="auto">
            <a:xfrm>
              <a:off x="2486586" y="2532593"/>
              <a:ext cx="4395788" cy="789384"/>
              <a:chOff x="1414" y="1727"/>
              <a:chExt cx="2670" cy="663"/>
            </a:xfrm>
          </p:grpSpPr>
          <p:grpSp>
            <p:nvGrpSpPr>
              <p:cNvPr id="22542" name="Group 15"/>
              <p:cNvGrpSpPr>
                <a:grpSpLocks/>
              </p:cNvGrpSpPr>
              <p:nvPr/>
            </p:nvGrpSpPr>
            <p:grpSpPr bwMode="auto">
              <a:xfrm>
                <a:off x="1632" y="1727"/>
                <a:ext cx="1156" cy="663"/>
                <a:chOff x="1632" y="1727"/>
                <a:chExt cx="1156" cy="663"/>
              </a:xfrm>
            </p:grpSpPr>
            <p:sp>
              <p:nvSpPr>
                <p:cNvPr id="62480" name="AutoShape 16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22595" name="AutoShape 17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596" name="Rectangle 18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597" name="Line 19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22543" name="Rectangle 20"/>
              <p:cNvSpPr>
                <a:spLocks noChangeArrowheads="1"/>
              </p:cNvSpPr>
              <p:nvPr/>
            </p:nvSpPr>
            <p:spPr bwMode="auto">
              <a:xfrm>
                <a:off x="1414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2485" name="AutoShape 21"/>
              <p:cNvSpPr>
                <a:spLocks noChangeArrowheads="1"/>
              </p:cNvSpPr>
              <p:nvPr/>
            </p:nvSpPr>
            <p:spPr bwMode="auto">
              <a:xfrm>
                <a:off x="1458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86" name="AutoShape 22"/>
              <p:cNvSpPr>
                <a:spLocks noChangeArrowheads="1"/>
              </p:cNvSpPr>
              <p:nvPr/>
            </p:nvSpPr>
            <p:spPr bwMode="auto">
              <a:xfrm>
                <a:off x="1458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87" name="AutoShape 23"/>
              <p:cNvSpPr>
                <a:spLocks noChangeArrowheads="1"/>
              </p:cNvSpPr>
              <p:nvPr/>
            </p:nvSpPr>
            <p:spPr bwMode="auto">
              <a:xfrm>
                <a:off x="1458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88" name="AutoShape 24"/>
              <p:cNvSpPr>
                <a:spLocks noChangeArrowheads="1"/>
              </p:cNvSpPr>
              <p:nvPr/>
            </p:nvSpPr>
            <p:spPr bwMode="auto">
              <a:xfrm>
                <a:off x="1458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89" name="AutoShape 25"/>
              <p:cNvSpPr>
                <a:spLocks noChangeArrowheads="1"/>
              </p:cNvSpPr>
              <p:nvPr/>
            </p:nvSpPr>
            <p:spPr bwMode="auto">
              <a:xfrm>
                <a:off x="1458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00FF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90" name="AutoShape 26"/>
              <p:cNvSpPr>
                <a:spLocks noChangeArrowheads="1"/>
              </p:cNvSpPr>
              <p:nvPr/>
            </p:nvSpPr>
            <p:spPr bwMode="auto">
              <a:xfrm>
                <a:off x="1700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491" name="AutoShape 27"/>
              <p:cNvSpPr>
                <a:spLocks noChangeArrowheads="1"/>
              </p:cNvSpPr>
              <p:nvPr/>
            </p:nvSpPr>
            <p:spPr bwMode="auto">
              <a:xfrm>
                <a:off x="1700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551" name="Rectangle 28"/>
              <p:cNvSpPr>
                <a:spLocks noChangeArrowheads="1"/>
              </p:cNvSpPr>
              <p:nvPr/>
            </p:nvSpPr>
            <p:spPr bwMode="auto">
              <a:xfrm>
                <a:off x="1436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2" name="Line 29"/>
              <p:cNvSpPr>
                <a:spLocks noChangeShapeType="1"/>
              </p:cNvSpPr>
              <p:nvPr/>
            </p:nvSpPr>
            <p:spPr bwMode="auto">
              <a:xfrm>
                <a:off x="1418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3" name="Line 30"/>
              <p:cNvSpPr>
                <a:spLocks noChangeShapeType="1"/>
              </p:cNvSpPr>
              <p:nvPr/>
            </p:nvSpPr>
            <p:spPr bwMode="auto">
              <a:xfrm>
                <a:off x="1418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4" name="Line 31"/>
              <p:cNvSpPr>
                <a:spLocks noChangeShapeType="1"/>
              </p:cNvSpPr>
              <p:nvPr/>
            </p:nvSpPr>
            <p:spPr bwMode="auto">
              <a:xfrm>
                <a:off x="1416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5" name="Line 32"/>
              <p:cNvSpPr>
                <a:spLocks noChangeShapeType="1"/>
              </p:cNvSpPr>
              <p:nvPr/>
            </p:nvSpPr>
            <p:spPr bwMode="auto">
              <a:xfrm>
                <a:off x="196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grpSp>
            <p:nvGrpSpPr>
              <p:cNvPr id="22556" name="Group 33"/>
              <p:cNvGrpSpPr>
                <a:grpSpLocks/>
              </p:cNvGrpSpPr>
              <p:nvPr/>
            </p:nvGrpSpPr>
            <p:grpSpPr bwMode="auto">
              <a:xfrm>
                <a:off x="2672" y="1727"/>
                <a:ext cx="1156" cy="663"/>
                <a:chOff x="1632" y="1727"/>
                <a:chExt cx="1156" cy="663"/>
              </a:xfrm>
            </p:grpSpPr>
            <p:sp>
              <p:nvSpPr>
                <p:cNvPr id="62498" name="AutoShape 34"/>
                <p:cNvSpPr>
                  <a:spLocks noChangeArrowheads="1"/>
                </p:cNvSpPr>
                <p:nvPr/>
              </p:nvSpPr>
              <p:spPr bwMode="auto">
                <a:xfrm>
                  <a:off x="1632" y="2038"/>
                  <a:ext cx="1156" cy="352"/>
                </a:xfrm>
                <a:custGeom>
                  <a:avLst/>
                  <a:gdLst>
                    <a:gd name="G0" fmla="+- 4543 0 0"/>
                    <a:gd name="G1" fmla="+- 11561637 0 0"/>
                    <a:gd name="G2" fmla="+- 0 0 11561637"/>
                    <a:gd name="T0" fmla="*/ 0 256 1"/>
                    <a:gd name="T1" fmla="*/ 180 256 1"/>
                    <a:gd name="G3" fmla="+- 11561637 T0 T1"/>
                    <a:gd name="T2" fmla="*/ 0 256 1"/>
                    <a:gd name="T3" fmla="*/ 90 256 1"/>
                    <a:gd name="G4" fmla="+- 11561637 T2 T3"/>
                    <a:gd name="G5" fmla="*/ G4 2 1"/>
                    <a:gd name="T4" fmla="*/ 90 256 1"/>
                    <a:gd name="T5" fmla="*/ 0 256 1"/>
                    <a:gd name="G6" fmla="+- 11561637 T4 T5"/>
                    <a:gd name="G7" fmla="*/ G6 2 1"/>
                    <a:gd name="G8" fmla="abs 11561637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4543"/>
                    <a:gd name="G18" fmla="*/ 4543 1 2"/>
                    <a:gd name="G19" fmla="+- G18 5400 0"/>
                    <a:gd name="G20" fmla="cos G19 11561637"/>
                    <a:gd name="G21" fmla="sin G19 11561637"/>
                    <a:gd name="G22" fmla="+- G20 10800 0"/>
                    <a:gd name="G23" fmla="+- G21 10800 0"/>
                    <a:gd name="G24" fmla="+- 10800 0 G20"/>
                    <a:gd name="G25" fmla="+- 4543 10800 0"/>
                    <a:gd name="G26" fmla="?: G9 G17 G25"/>
                    <a:gd name="G27" fmla="?: G9 0 21600"/>
                    <a:gd name="G28" fmla="cos 10800 11561637"/>
                    <a:gd name="G29" fmla="sin 10800 11561637"/>
                    <a:gd name="G30" fmla="sin 4543 11561637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11561637 G34 0"/>
                    <a:gd name="G36" fmla="?: G6 G35 G31"/>
                    <a:gd name="G37" fmla="+- 21600 0 G36"/>
                    <a:gd name="G38" fmla="?: G4 0 G33"/>
                    <a:gd name="G39" fmla="?: 11561637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3142 w 21600"/>
                    <a:gd name="T15" fmla="*/ 11279 h 21600"/>
                    <a:gd name="T16" fmla="*/ 10800 w 21600"/>
                    <a:gd name="T17" fmla="*/ 6257 h 21600"/>
                    <a:gd name="T18" fmla="*/ 18458 w 21600"/>
                    <a:gd name="T19" fmla="*/ 11279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33CC"/>
                  </a:solidFill>
                  <a:miter lim="800000"/>
                  <a:headEnd/>
                  <a:tailEnd/>
                </a:ln>
                <a:effectLst>
                  <a:outerShdw dist="56796" dir="1593903" algn="ctr" rotWithShape="0">
                    <a:srgbClr val="C0C0C0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2399">
                    <a:latin typeface="Arial" panose="020B0604020202020204" pitchFamily="34" charset="0"/>
                    <a:ea typeface="ＭＳ Ｐゴシック"/>
                    <a:cs typeface="ＭＳ Ｐゴシック"/>
                  </a:endParaRPr>
                </a:p>
              </p:txBody>
            </p:sp>
            <p:sp>
              <p:nvSpPr>
                <p:cNvPr id="22591" name="AutoShape 35"/>
                <p:cNvSpPr>
                  <a:spLocks noChangeArrowheads="1"/>
                </p:cNvSpPr>
                <p:nvPr/>
              </p:nvSpPr>
              <p:spPr bwMode="auto">
                <a:xfrm flipV="1">
                  <a:off x="1632" y="1727"/>
                  <a:ext cx="1156" cy="3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840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65" y="11083"/>
                      </a:moveTo>
                      <a:cubicBezTo>
                        <a:pt x="6259" y="10989"/>
                        <a:pt x="6257" y="10894"/>
                        <a:pt x="6257" y="10800"/>
                      </a:cubicBezTo>
                      <a:cubicBezTo>
                        <a:pt x="6257" y="8290"/>
                        <a:pt x="8290" y="6257"/>
                        <a:pt x="10800" y="6257"/>
                      </a:cubicBezTo>
                      <a:cubicBezTo>
                        <a:pt x="13309" y="6257"/>
                        <a:pt x="15343" y="8290"/>
                        <a:pt x="15343" y="10800"/>
                      </a:cubicBezTo>
                      <a:cubicBezTo>
                        <a:pt x="15343" y="10894"/>
                        <a:pt x="15340" y="10989"/>
                        <a:pt x="15334" y="11083"/>
                      </a:cubicBezTo>
                      <a:lnTo>
                        <a:pt x="21578" y="11475"/>
                      </a:lnTo>
                      <a:cubicBezTo>
                        <a:pt x="21592" y="11250"/>
                        <a:pt x="21600" y="1102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1025"/>
                        <a:pt x="7" y="11250"/>
                        <a:pt x="21" y="114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rgbClr val="0000CC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592" name="Rectangle 36"/>
                <p:cNvSpPr>
                  <a:spLocks noChangeArrowheads="1"/>
                </p:cNvSpPr>
                <p:nvPr/>
              </p:nvSpPr>
              <p:spPr bwMode="auto">
                <a:xfrm rot="-5400000">
                  <a:off x="2168" y="1777"/>
                  <a:ext cx="103" cy="576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593" name="Line 37"/>
                <p:cNvSpPr>
                  <a:spLocks noChangeShapeType="1"/>
                </p:cNvSpPr>
                <p:nvPr/>
              </p:nvSpPr>
              <p:spPr bwMode="auto">
                <a:xfrm>
                  <a:off x="1967" y="2213"/>
                  <a:ext cx="0" cy="28"/>
                </a:xfrm>
                <a:prstGeom prst="line">
                  <a:avLst/>
                </a:prstGeom>
                <a:noFill/>
                <a:ln w="9525">
                  <a:solidFill>
                    <a:srgbClr val="0033CC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399"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22557" name="Rectangle 38"/>
              <p:cNvSpPr>
                <a:spLocks noChangeArrowheads="1"/>
              </p:cNvSpPr>
              <p:nvPr/>
            </p:nvSpPr>
            <p:spPr bwMode="auto">
              <a:xfrm>
                <a:off x="245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8" name="Rectangle 39"/>
              <p:cNvSpPr>
                <a:spLocks noChangeArrowheads="1"/>
              </p:cNvSpPr>
              <p:nvPr/>
            </p:nvSpPr>
            <p:spPr bwMode="auto">
              <a:xfrm>
                <a:off x="248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59" name="Rectangle 40"/>
              <p:cNvSpPr>
                <a:spLocks noChangeArrowheads="1"/>
              </p:cNvSpPr>
              <p:nvPr/>
            </p:nvSpPr>
            <p:spPr bwMode="auto">
              <a:xfrm>
                <a:off x="245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2505" name="AutoShape 41"/>
              <p:cNvSpPr>
                <a:spLocks noChangeArrowheads="1"/>
              </p:cNvSpPr>
              <p:nvPr/>
            </p:nvSpPr>
            <p:spPr bwMode="auto">
              <a:xfrm>
                <a:off x="249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06" name="AutoShape 42"/>
              <p:cNvSpPr>
                <a:spLocks noChangeArrowheads="1"/>
              </p:cNvSpPr>
              <p:nvPr/>
            </p:nvSpPr>
            <p:spPr bwMode="auto">
              <a:xfrm>
                <a:off x="249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07" name="AutoShape 43"/>
              <p:cNvSpPr>
                <a:spLocks noChangeArrowheads="1"/>
              </p:cNvSpPr>
              <p:nvPr/>
            </p:nvSpPr>
            <p:spPr bwMode="auto">
              <a:xfrm>
                <a:off x="249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66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08" name="AutoShape 44"/>
              <p:cNvSpPr>
                <a:spLocks noChangeArrowheads="1"/>
              </p:cNvSpPr>
              <p:nvPr/>
            </p:nvSpPr>
            <p:spPr bwMode="auto">
              <a:xfrm>
                <a:off x="249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00FF00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09" name="AutoShape 45"/>
              <p:cNvSpPr>
                <a:spLocks noChangeArrowheads="1"/>
              </p:cNvSpPr>
              <p:nvPr/>
            </p:nvSpPr>
            <p:spPr bwMode="auto">
              <a:xfrm>
                <a:off x="249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10" name="AutoShape 46"/>
              <p:cNvSpPr>
                <a:spLocks noChangeArrowheads="1"/>
              </p:cNvSpPr>
              <p:nvPr/>
            </p:nvSpPr>
            <p:spPr bwMode="auto">
              <a:xfrm>
                <a:off x="273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11" name="AutoShape 47"/>
              <p:cNvSpPr>
                <a:spLocks noChangeArrowheads="1"/>
              </p:cNvSpPr>
              <p:nvPr/>
            </p:nvSpPr>
            <p:spPr bwMode="auto">
              <a:xfrm>
                <a:off x="273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567" name="Rectangle 48"/>
              <p:cNvSpPr>
                <a:spLocks noChangeArrowheads="1"/>
              </p:cNvSpPr>
              <p:nvPr/>
            </p:nvSpPr>
            <p:spPr bwMode="auto">
              <a:xfrm>
                <a:off x="247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68" name="Line 49"/>
              <p:cNvSpPr>
                <a:spLocks noChangeShapeType="1"/>
              </p:cNvSpPr>
              <p:nvPr/>
            </p:nvSpPr>
            <p:spPr bwMode="auto">
              <a:xfrm>
                <a:off x="245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69" name="Line 50"/>
              <p:cNvSpPr>
                <a:spLocks noChangeShapeType="1"/>
              </p:cNvSpPr>
              <p:nvPr/>
            </p:nvSpPr>
            <p:spPr bwMode="auto">
              <a:xfrm>
                <a:off x="245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0" name="Line 51"/>
              <p:cNvSpPr>
                <a:spLocks noChangeShapeType="1"/>
              </p:cNvSpPr>
              <p:nvPr/>
            </p:nvSpPr>
            <p:spPr bwMode="auto">
              <a:xfrm>
                <a:off x="245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1" name="Line 52"/>
              <p:cNvSpPr>
                <a:spLocks noChangeShapeType="1"/>
              </p:cNvSpPr>
              <p:nvPr/>
            </p:nvSpPr>
            <p:spPr bwMode="auto">
              <a:xfrm>
                <a:off x="245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2" name="Line 53"/>
              <p:cNvSpPr>
                <a:spLocks noChangeShapeType="1"/>
              </p:cNvSpPr>
              <p:nvPr/>
            </p:nvSpPr>
            <p:spPr bwMode="auto">
              <a:xfrm>
                <a:off x="3005" y="1872"/>
                <a:ext cx="0" cy="34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3" name="Rectangle 54"/>
              <p:cNvSpPr>
                <a:spLocks noChangeArrowheads="1"/>
              </p:cNvSpPr>
              <p:nvPr/>
            </p:nvSpPr>
            <p:spPr bwMode="auto">
              <a:xfrm>
                <a:off x="3493" y="1914"/>
                <a:ext cx="31" cy="279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4" name="Rectangle 55"/>
              <p:cNvSpPr>
                <a:spLocks noChangeArrowheads="1"/>
              </p:cNvSpPr>
              <p:nvPr/>
            </p:nvSpPr>
            <p:spPr bwMode="auto">
              <a:xfrm>
                <a:off x="3520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75" name="Rectangle 56"/>
              <p:cNvSpPr>
                <a:spLocks noChangeArrowheads="1"/>
              </p:cNvSpPr>
              <p:nvPr/>
            </p:nvSpPr>
            <p:spPr bwMode="auto">
              <a:xfrm>
                <a:off x="3493" y="1874"/>
                <a:ext cx="550" cy="367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62521" name="AutoShape 57"/>
              <p:cNvSpPr>
                <a:spLocks noChangeArrowheads="1"/>
              </p:cNvSpPr>
              <p:nvPr/>
            </p:nvSpPr>
            <p:spPr bwMode="auto">
              <a:xfrm>
                <a:off x="3537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CC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2" name="AutoShape 58"/>
              <p:cNvSpPr>
                <a:spLocks noChangeArrowheads="1"/>
              </p:cNvSpPr>
              <p:nvPr/>
            </p:nvSpPr>
            <p:spPr bwMode="auto">
              <a:xfrm>
                <a:off x="3537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0066FF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3" name="AutoShape 59"/>
              <p:cNvSpPr>
                <a:spLocks noChangeArrowheads="1"/>
              </p:cNvSpPr>
              <p:nvPr/>
            </p:nvSpPr>
            <p:spPr bwMode="auto">
              <a:xfrm>
                <a:off x="3537" y="1898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FF66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4" name="AutoShape 60"/>
              <p:cNvSpPr>
                <a:spLocks noChangeArrowheads="1"/>
              </p:cNvSpPr>
              <p:nvPr/>
            </p:nvSpPr>
            <p:spPr bwMode="auto">
              <a:xfrm>
                <a:off x="3537" y="1963"/>
                <a:ext cx="455" cy="42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100000">
                    <a:srgbClr val="00FF00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5" name="AutoShape 61"/>
              <p:cNvSpPr>
                <a:spLocks noChangeArrowheads="1"/>
              </p:cNvSpPr>
              <p:nvPr/>
            </p:nvSpPr>
            <p:spPr bwMode="auto">
              <a:xfrm>
                <a:off x="3537" y="2029"/>
                <a:ext cx="455" cy="41"/>
              </a:xfrm>
              <a:prstGeom prst="roundRect">
                <a:avLst>
                  <a:gd name="adj" fmla="val 16667"/>
                </a:avLst>
              </a:prstGeom>
              <a:gradFill rotWithShape="1">
                <a:gsLst>
                  <a:gs pos="0">
                    <a:schemeClr val="bg1"/>
                  </a:gs>
                  <a:gs pos="50000">
                    <a:srgbClr val="FF00FF"/>
                  </a:gs>
                  <a:gs pos="100000">
                    <a:schemeClr val="bg1"/>
                  </a:gs>
                </a:gsLst>
                <a:lin ang="0" scaled="1"/>
              </a:gra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45791" dir="3378596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6" name="AutoShape 62"/>
              <p:cNvSpPr>
                <a:spLocks noChangeArrowheads="1"/>
              </p:cNvSpPr>
              <p:nvPr/>
            </p:nvSpPr>
            <p:spPr bwMode="auto">
              <a:xfrm>
                <a:off x="3779" y="2105"/>
                <a:ext cx="216" cy="48"/>
              </a:xfrm>
              <a:prstGeom prst="roundRect">
                <a:avLst>
                  <a:gd name="adj" fmla="val 16667"/>
                </a:avLst>
              </a:prstGeom>
              <a:solidFill>
                <a:srgbClr val="008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62527" name="AutoShape 63"/>
              <p:cNvSpPr>
                <a:spLocks noChangeArrowheads="1"/>
              </p:cNvSpPr>
              <p:nvPr/>
            </p:nvSpPr>
            <p:spPr bwMode="auto">
              <a:xfrm>
                <a:off x="3779" y="2169"/>
                <a:ext cx="214" cy="46"/>
              </a:xfrm>
              <a:prstGeom prst="roundRect">
                <a:avLst>
                  <a:gd name="adj" fmla="val 16667"/>
                </a:avLst>
              </a:prstGeom>
              <a:solidFill>
                <a:srgbClr val="FF0000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pPr marL="228543" indent="-228543" algn="ctr" eaLnBrk="0" hangingPunct="0">
                  <a:lnSpc>
                    <a:spcPct val="95000"/>
                  </a:lnSpc>
                  <a:spcBef>
                    <a:spcPct val="50000"/>
                  </a:spcBef>
                  <a:buClr>
                    <a:srgbClr val="000000"/>
                  </a:buClr>
                  <a:buSzPct val="100000"/>
                  <a:tabLst>
                    <a:tab pos="3656686" algn="l"/>
                    <a:tab pos="4266133" algn="l"/>
                    <a:tab pos="4875581" algn="l"/>
                    <a:tab pos="5485028" algn="l"/>
                    <a:tab pos="6094476" algn="l"/>
                    <a:tab pos="6703924" algn="l"/>
                    <a:tab pos="7313371" algn="l"/>
                    <a:tab pos="7922819" algn="l"/>
                    <a:tab pos="8532266" algn="l"/>
                    <a:tab pos="9141714" algn="l"/>
                    <a:tab pos="9751162" algn="l"/>
                    <a:tab pos="10360609" algn="l"/>
                    <a:tab pos="10970057" algn="l"/>
                    <a:tab pos="11579504" algn="l"/>
                    <a:tab pos="12188952" algn="l"/>
                  </a:tabLst>
                  <a:defRPr/>
                </a:pPr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2583" name="Rectangle 64"/>
              <p:cNvSpPr>
                <a:spLocks noChangeArrowheads="1"/>
              </p:cNvSpPr>
              <p:nvPr/>
            </p:nvSpPr>
            <p:spPr bwMode="auto">
              <a:xfrm>
                <a:off x="3515" y="2234"/>
                <a:ext cx="562" cy="42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4" name="Line 65"/>
              <p:cNvSpPr>
                <a:spLocks noChangeShapeType="1"/>
              </p:cNvSpPr>
              <p:nvPr/>
            </p:nvSpPr>
            <p:spPr bwMode="auto">
              <a:xfrm>
                <a:off x="3497" y="2232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5" name="Line 66"/>
              <p:cNvSpPr>
                <a:spLocks noChangeShapeType="1"/>
              </p:cNvSpPr>
              <p:nvPr/>
            </p:nvSpPr>
            <p:spPr bwMode="auto">
              <a:xfrm>
                <a:off x="3497" y="1874"/>
                <a:ext cx="548" cy="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6" name="Line 67"/>
              <p:cNvSpPr>
                <a:spLocks noChangeShapeType="1"/>
              </p:cNvSpPr>
              <p:nvPr/>
            </p:nvSpPr>
            <p:spPr bwMode="auto">
              <a:xfrm>
                <a:off x="3493" y="1872"/>
                <a:ext cx="0" cy="38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7" name="Line 68"/>
              <p:cNvSpPr>
                <a:spLocks noChangeShapeType="1"/>
              </p:cNvSpPr>
              <p:nvPr/>
            </p:nvSpPr>
            <p:spPr bwMode="auto">
              <a:xfrm>
                <a:off x="3493" y="2206"/>
                <a:ext cx="0" cy="25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8" name="Line 69"/>
              <p:cNvSpPr>
                <a:spLocks noChangeShapeType="1"/>
              </p:cNvSpPr>
              <p:nvPr/>
            </p:nvSpPr>
            <p:spPr bwMode="auto">
              <a:xfrm>
                <a:off x="4044" y="1872"/>
                <a:ext cx="0" cy="360"/>
              </a:xfrm>
              <a:prstGeom prst="line">
                <a:avLst/>
              </a:prstGeom>
              <a:noFill/>
              <a:ln w="9525">
                <a:solidFill>
                  <a:srgbClr val="3333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  <p:sp>
            <p:nvSpPr>
              <p:cNvPr id="22589" name="Rectangle 70"/>
              <p:cNvSpPr>
                <a:spLocks noChangeArrowheads="1"/>
              </p:cNvSpPr>
              <p:nvPr/>
            </p:nvSpPr>
            <p:spPr bwMode="auto">
              <a:xfrm rot="-5400000">
                <a:off x="3890" y="2078"/>
                <a:ext cx="352" cy="36"/>
              </a:xfrm>
              <a:prstGeom prst="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 sz="2399"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85" name="Text Box 10"/>
          <p:cNvSpPr txBox="1">
            <a:spLocks noChangeArrowheads="1"/>
          </p:cNvSpPr>
          <p:nvPr/>
        </p:nvSpPr>
        <p:spPr bwMode="auto">
          <a:xfrm>
            <a:off x="260441" y="1208093"/>
            <a:ext cx="4821876" cy="1076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199">
                <a:latin typeface="Arial" panose="020B0604020202020204" pitchFamily="34" charset="0"/>
                <a:ea typeface="ＭＳ Ｐゴシック"/>
              </a:rPr>
              <a:t>Shared Nothing Architecture</a:t>
            </a:r>
          </a:p>
        </p:txBody>
      </p:sp>
      <p:sp>
        <p:nvSpPr>
          <p:cNvPr id="86" name="Text Box 10"/>
          <p:cNvSpPr txBox="1">
            <a:spLocks noChangeArrowheads="1"/>
          </p:cNvSpPr>
          <p:nvPr/>
        </p:nvSpPr>
        <p:spPr bwMode="auto">
          <a:xfrm>
            <a:off x="5942881" y="1220223"/>
            <a:ext cx="5619736" cy="1076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199">
                <a:latin typeface="Arial" panose="020B0604020202020204" pitchFamily="34" charset="0"/>
                <a:ea typeface="ＭＳ Ｐゴシック"/>
                <a:cs typeface="ＭＳ Ｐゴシック"/>
              </a:rPr>
              <a:t>10X to 100X faster than</a:t>
            </a:r>
          </a:p>
          <a:p>
            <a:pPr algn="ctr">
              <a:defRPr/>
            </a:pPr>
            <a:r>
              <a:rPr lang="en-US" sz="3199">
                <a:latin typeface="Arial" panose="020B0604020202020204" pitchFamily="34" charset="0"/>
                <a:ea typeface="ＭＳ Ｐゴシック"/>
                <a:cs typeface="ＭＳ Ｐゴシック"/>
              </a:rPr>
              <a:t>Traditional DBM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D3312DA-1BFB-0343-BCE1-F79D82CC32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4883" y="2244527"/>
            <a:ext cx="2330769" cy="993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1026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Picture 94" descr="hard-disk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924" y="3671733"/>
            <a:ext cx="654515" cy="654515"/>
          </a:xfrm>
          <a:prstGeom prst="rect">
            <a:avLst/>
          </a:prstGeom>
        </p:spPr>
      </p:pic>
      <p:pic>
        <p:nvPicPr>
          <p:cNvPr id="100" name="Picture 99" descr="ram-memory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0743" y="2745135"/>
            <a:ext cx="780065" cy="78006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49" name="Rectangle 70"/>
          <p:cNvSpPr>
            <a:spLocks noChangeArrowheads="1"/>
          </p:cNvSpPr>
          <p:nvPr/>
        </p:nvSpPr>
        <p:spPr bwMode="auto">
          <a:xfrm rot="16200000">
            <a:off x="6971658" y="3540329"/>
            <a:ext cx="558654" cy="79005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pic>
        <p:nvPicPr>
          <p:cNvPr id="6" name="Picture 5" descr="cloud.png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Sketch pressure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17" y="1084898"/>
            <a:ext cx="8622859" cy="4278852"/>
          </a:xfrm>
          <a:prstGeom prst="rect">
            <a:avLst/>
          </a:prstGeom>
        </p:spPr>
      </p:pic>
      <p:pic>
        <p:nvPicPr>
          <p:cNvPr id="92" name="Picture 91" descr="cpu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578" y="2926681"/>
            <a:ext cx="613323" cy="613323"/>
          </a:xfrm>
          <a:prstGeom prst="rect">
            <a:avLst/>
          </a:prstGeom>
        </p:spPr>
      </p:pic>
      <p:pic>
        <p:nvPicPr>
          <p:cNvPr id="91" name="Picture 90" descr="cpu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216" y="2920011"/>
            <a:ext cx="613323" cy="613323"/>
          </a:xfrm>
          <a:prstGeom prst="rect">
            <a:avLst/>
          </a:prstGeom>
        </p:spPr>
      </p:pic>
      <p:pic>
        <p:nvPicPr>
          <p:cNvPr id="90" name="Picture 89" descr="cpu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37" y="2924663"/>
            <a:ext cx="613323" cy="613323"/>
          </a:xfrm>
          <a:prstGeom prst="rect">
            <a:avLst/>
          </a:prstGeom>
        </p:spPr>
      </p:pic>
      <p:sp>
        <p:nvSpPr>
          <p:cNvPr id="24578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lastic and Scalable</a:t>
            </a:r>
          </a:p>
        </p:txBody>
      </p:sp>
      <p:sp>
        <p:nvSpPr>
          <p:cNvPr id="64523" name="Text Box 11"/>
          <p:cNvSpPr txBox="1">
            <a:spLocks noChangeArrowheads="1"/>
          </p:cNvSpPr>
          <p:nvPr/>
        </p:nvSpPr>
        <p:spPr bwMode="auto">
          <a:xfrm>
            <a:off x="6920742" y="1267250"/>
            <a:ext cx="4591871" cy="830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399" b="1">
                <a:solidFill>
                  <a:schemeClr val="accent1"/>
                </a:solidFill>
                <a:latin typeface="Arial" panose="020B0604020202020204" pitchFamily="34" charset="0"/>
              </a:rPr>
              <a:t>Add/remove data servers dynamically</a:t>
            </a:r>
          </a:p>
        </p:txBody>
      </p:sp>
      <p:sp>
        <p:nvSpPr>
          <p:cNvPr id="24592" name="Text Box 88"/>
          <p:cNvSpPr txBox="1">
            <a:spLocks noChangeArrowheads="1"/>
          </p:cNvSpPr>
          <p:nvPr/>
        </p:nvSpPr>
        <p:spPr bwMode="auto">
          <a:xfrm>
            <a:off x="1013214" y="5013478"/>
            <a:ext cx="10099812" cy="1405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4799" b="1">
                <a:solidFill>
                  <a:schemeClr val="accent1"/>
                </a:solidFill>
                <a:latin typeface="Arial" panose="020B0604020202020204" pitchFamily="34" charset="0"/>
              </a:rPr>
              <a:t>Grow </a:t>
            </a:r>
            <a:r>
              <a:rPr lang="en-US" sz="3732" b="1">
                <a:solidFill>
                  <a:schemeClr val="accent1"/>
                </a:solidFill>
                <a:latin typeface="Arial" panose="020B0604020202020204" pitchFamily="34" charset="0"/>
              </a:rPr>
              <a:t>or </a:t>
            </a:r>
            <a:r>
              <a:rPr lang="en-US" sz="2666" b="1">
                <a:solidFill>
                  <a:schemeClr val="accent1"/>
                </a:solidFill>
                <a:latin typeface="Arial" panose="020B0604020202020204" pitchFamily="34" charset="0"/>
              </a:rPr>
              <a:t>shrink </a:t>
            </a:r>
            <a:r>
              <a:rPr lang="en-US" sz="3732" b="1">
                <a:solidFill>
                  <a:schemeClr val="accent1"/>
                </a:solidFill>
                <a:latin typeface="Arial" panose="020B0604020202020204" pitchFamily="34" charset="0"/>
              </a:rPr>
              <a:t>dynamically</a:t>
            </a:r>
          </a:p>
          <a:p>
            <a:pPr algn="ctr"/>
            <a:r>
              <a:rPr lang="en-US" sz="3732" b="1">
                <a:solidFill>
                  <a:schemeClr val="accent1"/>
                </a:solidFill>
                <a:latin typeface="Arial" panose="020B0604020202020204" pitchFamily="34" charset="0"/>
              </a:rPr>
              <a:t>with no interruption of service or data loss.</a:t>
            </a:r>
          </a:p>
        </p:txBody>
      </p:sp>
      <p:pic>
        <p:nvPicPr>
          <p:cNvPr id="96" name="Picture 95" descr="hard-disk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992" y="3665384"/>
            <a:ext cx="654515" cy="654515"/>
          </a:xfrm>
          <a:prstGeom prst="rect">
            <a:avLst/>
          </a:prstGeom>
        </p:spPr>
      </p:pic>
      <p:pic>
        <p:nvPicPr>
          <p:cNvPr id="97" name="Picture 96" descr="hard-disk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828" y="3671733"/>
            <a:ext cx="654515" cy="654515"/>
          </a:xfrm>
          <a:prstGeom prst="rect">
            <a:avLst/>
          </a:prstGeom>
        </p:spPr>
      </p:pic>
      <p:pic>
        <p:nvPicPr>
          <p:cNvPr id="98" name="Picture 97" descr="ram-memory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647" y="2745135"/>
            <a:ext cx="780065" cy="780065"/>
          </a:xfrm>
          <a:prstGeom prst="rect">
            <a:avLst/>
          </a:prstGeom>
        </p:spPr>
      </p:pic>
      <p:pic>
        <p:nvPicPr>
          <p:cNvPr id="99" name="Picture 98" descr="ram-memory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810" y="2745135"/>
            <a:ext cx="780065" cy="780065"/>
          </a:xfrm>
          <a:prstGeom prst="rect">
            <a:avLst/>
          </a:prstGeom>
        </p:spPr>
      </p:pic>
      <p:grpSp>
        <p:nvGrpSpPr>
          <p:cNvPr id="102" name="Group 15"/>
          <p:cNvGrpSpPr>
            <a:grpSpLocks/>
          </p:cNvGrpSpPr>
          <p:nvPr/>
        </p:nvGrpSpPr>
        <p:grpSpPr bwMode="auto">
          <a:xfrm>
            <a:off x="1909381" y="2994196"/>
            <a:ext cx="2536933" cy="1052238"/>
            <a:chOff x="1632" y="1727"/>
            <a:chExt cx="1156" cy="663"/>
          </a:xfrm>
        </p:grpSpPr>
        <p:sp>
          <p:nvSpPr>
            <p:cNvPr id="154" name="AutoShape 16"/>
            <p:cNvSpPr>
              <a:spLocks noChangeArrowheads="1"/>
            </p:cNvSpPr>
            <p:nvPr/>
          </p:nvSpPr>
          <p:spPr bwMode="auto">
            <a:xfrm>
              <a:off x="1632" y="2038"/>
              <a:ext cx="1156" cy="352"/>
            </a:xfrm>
            <a:custGeom>
              <a:avLst/>
              <a:gdLst>
                <a:gd name="G0" fmla="+- 4543 0 0"/>
                <a:gd name="G1" fmla="+- 11561637 0 0"/>
                <a:gd name="G2" fmla="+- 0 0 11561637"/>
                <a:gd name="T0" fmla="*/ 0 256 1"/>
                <a:gd name="T1" fmla="*/ 180 256 1"/>
                <a:gd name="G3" fmla="+- 11561637 T0 T1"/>
                <a:gd name="T2" fmla="*/ 0 256 1"/>
                <a:gd name="T3" fmla="*/ 90 256 1"/>
                <a:gd name="G4" fmla="+- 11561637 T2 T3"/>
                <a:gd name="G5" fmla="*/ G4 2 1"/>
                <a:gd name="T4" fmla="*/ 90 256 1"/>
                <a:gd name="T5" fmla="*/ 0 256 1"/>
                <a:gd name="G6" fmla="+- 11561637 T4 T5"/>
                <a:gd name="G7" fmla="*/ G6 2 1"/>
                <a:gd name="G8" fmla="abs 11561637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4543"/>
                <a:gd name="G18" fmla="*/ 4543 1 2"/>
                <a:gd name="G19" fmla="+- G18 5400 0"/>
                <a:gd name="G20" fmla="cos G19 11561637"/>
                <a:gd name="G21" fmla="sin G19 11561637"/>
                <a:gd name="G22" fmla="+- G20 10800 0"/>
                <a:gd name="G23" fmla="+- G21 10800 0"/>
                <a:gd name="G24" fmla="+- 10800 0 G20"/>
                <a:gd name="G25" fmla="+- 4543 10800 0"/>
                <a:gd name="G26" fmla="?: G9 G17 G25"/>
                <a:gd name="G27" fmla="?: G9 0 21600"/>
                <a:gd name="G28" fmla="cos 10800 11561637"/>
                <a:gd name="G29" fmla="sin 10800 11561637"/>
                <a:gd name="G30" fmla="sin 4543 11561637"/>
                <a:gd name="G31" fmla="+- G28 10800 0"/>
                <a:gd name="G32" fmla="+- G29 10800 0"/>
                <a:gd name="G33" fmla="+- G30 10800 0"/>
                <a:gd name="G34" fmla="?: G4 0 G31"/>
                <a:gd name="G35" fmla="?: 11561637 G34 0"/>
                <a:gd name="G36" fmla="?: G6 G35 G31"/>
                <a:gd name="G37" fmla="+- 21600 0 G36"/>
                <a:gd name="G38" fmla="?: G4 0 G33"/>
                <a:gd name="G39" fmla="?: 11561637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3142 w 21600"/>
                <a:gd name="T15" fmla="*/ 11279 h 21600"/>
                <a:gd name="T16" fmla="*/ 10800 w 21600"/>
                <a:gd name="T17" fmla="*/ 6257 h 21600"/>
                <a:gd name="T18" fmla="*/ 18458 w 21600"/>
                <a:gd name="T19" fmla="*/ 11279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6265" y="11083"/>
                  </a:moveTo>
                  <a:cubicBezTo>
                    <a:pt x="6259" y="10989"/>
                    <a:pt x="6257" y="10894"/>
                    <a:pt x="6257" y="10800"/>
                  </a:cubicBezTo>
                  <a:cubicBezTo>
                    <a:pt x="6257" y="8290"/>
                    <a:pt x="8290" y="6257"/>
                    <a:pt x="10800" y="6257"/>
                  </a:cubicBezTo>
                  <a:cubicBezTo>
                    <a:pt x="13309" y="6257"/>
                    <a:pt x="15343" y="8290"/>
                    <a:pt x="15343" y="10800"/>
                  </a:cubicBezTo>
                  <a:cubicBezTo>
                    <a:pt x="15343" y="10894"/>
                    <a:pt x="15340" y="10989"/>
                    <a:pt x="15334" y="11083"/>
                  </a:cubicBezTo>
                  <a:lnTo>
                    <a:pt x="21578" y="11475"/>
                  </a:lnTo>
                  <a:cubicBezTo>
                    <a:pt x="21592" y="11250"/>
                    <a:pt x="21600" y="1102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025"/>
                    <a:pt x="7" y="11250"/>
                    <a:pt x="21" y="11475"/>
                  </a:cubicBez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rgbClr val="0033CC"/>
              </a:solidFill>
              <a:miter lim="800000"/>
              <a:headEnd/>
              <a:tailEnd/>
            </a:ln>
            <a:effectLst>
              <a:outerShdw dist="56796" dir="1593903" algn="ctr" rotWithShape="0">
                <a:srgbClr val="C0C0C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 sz="2399"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55" name="AutoShape 17"/>
            <p:cNvSpPr>
              <a:spLocks noChangeArrowheads="1"/>
            </p:cNvSpPr>
            <p:nvPr/>
          </p:nvSpPr>
          <p:spPr bwMode="auto">
            <a:xfrm flipV="1">
              <a:off x="1632" y="1727"/>
              <a:ext cx="1156" cy="35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840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6265" y="11083"/>
                  </a:moveTo>
                  <a:cubicBezTo>
                    <a:pt x="6259" y="10989"/>
                    <a:pt x="6257" y="10894"/>
                    <a:pt x="6257" y="10800"/>
                  </a:cubicBezTo>
                  <a:cubicBezTo>
                    <a:pt x="6257" y="8290"/>
                    <a:pt x="8290" y="6257"/>
                    <a:pt x="10800" y="6257"/>
                  </a:cubicBezTo>
                  <a:cubicBezTo>
                    <a:pt x="13309" y="6257"/>
                    <a:pt x="15343" y="8290"/>
                    <a:pt x="15343" y="10800"/>
                  </a:cubicBezTo>
                  <a:cubicBezTo>
                    <a:pt x="15343" y="10894"/>
                    <a:pt x="15340" y="10989"/>
                    <a:pt x="15334" y="11083"/>
                  </a:cubicBezTo>
                  <a:lnTo>
                    <a:pt x="21578" y="11475"/>
                  </a:lnTo>
                  <a:cubicBezTo>
                    <a:pt x="21592" y="11250"/>
                    <a:pt x="21600" y="1102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025"/>
                    <a:pt x="7" y="11250"/>
                    <a:pt x="21" y="11475"/>
                  </a:cubicBez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rgbClr val="0000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56" name="Rectangle 18"/>
            <p:cNvSpPr>
              <a:spLocks noChangeArrowheads="1"/>
            </p:cNvSpPr>
            <p:nvPr/>
          </p:nvSpPr>
          <p:spPr bwMode="auto">
            <a:xfrm rot="-5400000">
              <a:off x="2168" y="1777"/>
              <a:ext cx="103" cy="57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57" name="Line 19"/>
            <p:cNvSpPr>
              <a:spLocks noChangeShapeType="1"/>
            </p:cNvSpPr>
            <p:nvPr/>
          </p:nvSpPr>
          <p:spPr bwMode="auto">
            <a:xfrm>
              <a:off x="1967" y="2213"/>
              <a:ext cx="0" cy="28"/>
            </a:xfrm>
            <a:prstGeom prst="line">
              <a:avLst/>
            </a:prstGeom>
            <a:noFill/>
            <a:ln w="9525">
              <a:solidFill>
                <a:srgbClr val="00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</p:grpSp>
      <p:sp>
        <p:nvSpPr>
          <p:cNvPr id="103" name="Rectangle 20"/>
          <p:cNvSpPr>
            <a:spLocks noChangeArrowheads="1"/>
          </p:cNvSpPr>
          <p:nvPr/>
        </p:nvSpPr>
        <p:spPr bwMode="auto">
          <a:xfrm>
            <a:off x="1430963" y="3227499"/>
            <a:ext cx="1207018" cy="58246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04" name="AutoShape 21"/>
          <p:cNvSpPr>
            <a:spLocks noChangeArrowheads="1"/>
          </p:cNvSpPr>
          <p:nvPr/>
        </p:nvSpPr>
        <p:spPr bwMode="auto">
          <a:xfrm>
            <a:off x="1527524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CC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5" name="AutoShape 22"/>
          <p:cNvSpPr>
            <a:spLocks noChangeArrowheads="1"/>
          </p:cNvSpPr>
          <p:nvPr/>
        </p:nvSpPr>
        <p:spPr bwMode="auto">
          <a:xfrm>
            <a:off x="1527524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0066FF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6" name="AutoShape 23"/>
          <p:cNvSpPr>
            <a:spLocks noChangeArrowheads="1"/>
          </p:cNvSpPr>
          <p:nvPr/>
        </p:nvSpPr>
        <p:spPr bwMode="auto">
          <a:xfrm>
            <a:off x="1527525" y="3265588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6600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7" name="AutoShape 24"/>
          <p:cNvSpPr>
            <a:spLocks noChangeArrowheads="1"/>
          </p:cNvSpPr>
          <p:nvPr/>
        </p:nvSpPr>
        <p:spPr bwMode="auto">
          <a:xfrm>
            <a:off x="1527525" y="3368748"/>
            <a:ext cx="998533" cy="66657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FF00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8" name="AutoShape 25"/>
          <p:cNvSpPr>
            <a:spLocks noChangeArrowheads="1"/>
          </p:cNvSpPr>
          <p:nvPr/>
        </p:nvSpPr>
        <p:spPr bwMode="auto">
          <a:xfrm>
            <a:off x="1527525" y="3473496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100000">
                <a:srgbClr val="FF00FF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9" name="AutoShape 26"/>
          <p:cNvSpPr>
            <a:spLocks noChangeArrowheads="1"/>
          </p:cNvSpPr>
          <p:nvPr/>
        </p:nvSpPr>
        <p:spPr bwMode="auto">
          <a:xfrm>
            <a:off x="2058612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008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10" name="AutoShape 27"/>
          <p:cNvSpPr>
            <a:spLocks noChangeArrowheads="1"/>
          </p:cNvSpPr>
          <p:nvPr/>
        </p:nvSpPr>
        <p:spPr bwMode="auto">
          <a:xfrm>
            <a:off x="2058613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11" name="Rectangle 28"/>
          <p:cNvSpPr>
            <a:spLocks noChangeArrowheads="1"/>
          </p:cNvSpPr>
          <p:nvPr/>
        </p:nvSpPr>
        <p:spPr bwMode="auto">
          <a:xfrm>
            <a:off x="1479244" y="3798849"/>
            <a:ext cx="1233353" cy="66657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2" name="Line 29"/>
          <p:cNvSpPr>
            <a:spLocks noChangeShapeType="1"/>
          </p:cNvSpPr>
          <p:nvPr/>
        </p:nvSpPr>
        <p:spPr bwMode="auto">
          <a:xfrm>
            <a:off x="1439741" y="3795674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3" name="Line 30"/>
          <p:cNvSpPr>
            <a:spLocks noChangeShapeType="1"/>
          </p:cNvSpPr>
          <p:nvPr/>
        </p:nvSpPr>
        <p:spPr bwMode="auto">
          <a:xfrm>
            <a:off x="1439741" y="3227498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4" name="Line 31"/>
          <p:cNvSpPr>
            <a:spLocks noChangeShapeType="1"/>
          </p:cNvSpPr>
          <p:nvPr/>
        </p:nvSpPr>
        <p:spPr bwMode="auto">
          <a:xfrm>
            <a:off x="1435352" y="3224325"/>
            <a:ext cx="0" cy="571351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5" name="Line 32"/>
          <p:cNvSpPr>
            <a:spLocks noChangeShapeType="1"/>
          </p:cNvSpPr>
          <p:nvPr/>
        </p:nvSpPr>
        <p:spPr bwMode="auto">
          <a:xfrm>
            <a:off x="2640176" y="3224324"/>
            <a:ext cx="0" cy="53961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grpSp>
        <p:nvGrpSpPr>
          <p:cNvPr id="116" name="Group 33"/>
          <p:cNvGrpSpPr>
            <a:grpSpLocks/>
          </p:cNvGrpSpPr>
          <p:nvPr/>
        </p:nvGrpSpPr>
        <p:grpSpPr bwMode="auto">
          <a:xfrm>
            <a:off x="4191743" y="2994196"/>
            <a:ext cx="2536933" cy="1052238"/>
            <a:chOff x="1632" y="1727"/>
            <a:chExt cx="1156" cy="663"/>
          </a:xfrm>
        </p:grpSpPr>
        <p:sp>
          <p:nvSpPr>
            <p:cNvPr id="150" name="AutoShape 34"/>
            <p:cNvSpPr>
              <a:spLocks noChangeArrowheads="1"/>
            </p:cNvSpPr>
            <p:nvPr/>
          </p:nvSpPr>
          <p:spPr bwMode="auto">
            <a:xfrm>
              <a:off x="1632" y="2038"/>
              <a:ext cx="1156" cy="352"/>
            </a:xfrm>
            <a:custGeom>
              <a:avLst/>
              <a:gdLst>
                <a:gd name="G0" fmla="+- 4543 0 0"/>
                <a:gd name="G1" fmla="+- 11561637 0 0"/>
                <a:gd name="G2" fmla="+- 0 0 11561637"/>
                <a:gd name="T0" fmla="*/ 0 256 1"/>
                <a:gd name="T1" fmla="*/ 180 256 1"/>
                <a:gd name="G3" fmla="+- 11561637 T0 T1"/>
                <a:gd name="T2" fmla="*/ 0 256 1"/>
                <a:gd name="T3" fmla="*/ 90 256 1"/>
                <a:gd name="G4" fmla="+- 11561637 T2 T3"/>
                <a:gd name="G5" fmla="*/ G4 2 1"/>
                <a:gd name="T4" fmla="*/ 90 256 1"/>
                <a:gd name="T5" fmla="*/ 0 256 1"/>
                <a:gd name="G6" fmla="+- 11561637 T4 T5"/>
                <a:gd name="G7" fmla="*/ G6 2 1"/>
                <a:gd name="G8" fmla="abs 11561637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4543"/>
                <a:gd name="G18" fmla="*/ 4543 1 2"/>
                <a:gd name="G19" fmla="+- G18 5400 0"/>
                <a:gd name="G20" fmla="cos G19 11561637"/>
                <a:gd name="G21" fmla="sin G19 11561637"/>
                <a:gd name="G22" fmla="+- G20 10800 0"/>
                <a:gd name="G23" fmla="+- G21 10800 0"/>
                <a:gd name="G24" fmla="+- 10800 0 G20"/>
                <a:gd name="G25" fmla="+- 4543 10800 0"/>
                <a:gd name="G26" fmla="?: G9 G17 G25"/>
                <a:gd name="G27" fmla="?: G9 0 21600"/>
                <a:gd name="G28" fmla="cos 10800 11561637"/>
                <a:gd name="G29" fmla="sin 10800 11561637"/>
                <a:gd name="G30" fmla="sin 4543 11561637"/>
                <a:gd name="G31" fmla="+- G28 10800 0"/>
                <a:gd name="G32" fmla="+- G29 10800 0"/>
                <a:gd name="G33" fmla="+- G30 10800 0"/>
                <a:gd name="G34" fmla="?: G4 0 G31"/>
                <a:gd name="G35" fmla="?: 11561637 G34 0"/>
                <a:gd name="G36" fmla="?: G6 G35 G31"/>
                <a:gd name="G37" fmla="+- 21600 0 G36"/>
                <a:gd name="G38" fmla="?: G4 0 G33"/>
                <a:gd name="G39" fmla="?: 11561637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3142 w 21600"/>
                <a:gd name="T15" fmla="*/ 11279 h 21600"/>
                <a:gd name="T16" fmla="*/ 10800 w 21600"/>
                <a:gd name="T17" fmla="*/ 6257 h 21600"/>
                <a:gd name="T18" fmla="*/ 18458 w 21600"/>
                <a:gd name="T19" fmla="*/ 11279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6265" y="11083"/>
                  </a:moveTo>
                  <a:cubicBezTo>
                    <a:pt x="6259" y="10989"/>
                    <a:pt x="6257" y="10894"/>
                    <a:pt x="6257" y="10800"/>
                  </a:cubicBezTo>
                  <a:cubicBezTo>
                    <a:pt x="6257" y="8290"/>
                    <a:pt x="8290" y="6257"/>
                    <a:pt x="10800" y="6257"/>
                  </a:cubicBezTo>
                  <a:cubicBezTo>
                    <a:pt x="13309" y="6257"/>
                    <a:pt x="15343" y="8290"/>
                    <a:pt x="15343" y="10800"/>
                  </a:cubicBezTo>
                  <a:cubicBezTo>
                    <a:pt x="15343" y="10894"/>
                    <a:pt x="15340" y="10989"/>
                    <a:pt x="15334" y="11083"/>
                  </a:cubicBezTo>
                  <a:lnTo>
                    <a:pt x="21578" y="11475"/>
                  </a:lnTo>
                  <a:cubicBezTo>
                    <a:pt x="21592" y="11250"/>
                    <a:pt x="21600" y="1102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025"/>
                    <a:pt x="7" y="11250"/>
                    <a:pt x="21" y="11475"/>
                  </a:cubicBez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rgbClr val="0033CC"/>
              </a:solidFill>
              <a:miter lim="800000"/>
              <a:headEnd/>
              <a:tailEnd/>
            </a:ln>
            <a:effectLst>
              <a:outerShdw dist="56796" dir="1593903" algn="ctr" rotWithShape="0">
                <a:srgbClr val="C0C0C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 sz="2399"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51" name="AutoShape 35"/>
            <p:cNvSpPr>
              <a:spLocks noChangeArrowheads="1"/>
            </p:cNvSpPr>
            <p:nvPr/>
          </p:nvSpPr>
          <p:spPr bwMode="auto">
            <a:xfrm flipV="1">
              <a:off x="1632" y="1727"/>
              <a:ext cx="1156" cy="35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840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6265" y="11083"/>
                  </a:moveTo>
                  <a:cubicBezTo>
                    <a:pt x="6259" y="10989"/>
                    <a:pt x="6257" y="10894"/>
                    <a:pt x="6257" y="10800"/>
                  </a:cubicBezTo>
                  <a:cubicBezTo>
                    <a:pt x="6257" y="8290"/>
                    <a:pt x="8290" y="6257"/>
                    <a:pt x="10800" y="6257"/>
                  </a:cubicBezTo>
                  <a:cubicBezTo>
                    <a:pt x="13309" y="6257"/>
                    <a:pt x="15343" y="8290"/>
                    <a:pt x="15343" y="10800"/>
                  </a:cubicBezTo>
                  <a:cubicBezTo>
                    <a:pt x="15343" y="10894"/>
                    <a:pt x="15340" y="10989"/>
                    <a:pt x="15334" y="11083"/>
                  </a:cubicBezTo>
                  <a:lnTo>
                    <a:pt x="21578" y="11475"/>
                  </a:lnTo>
                  <a:cubicBezTo>
                    <a:pt x="21592" y="11250"/>
                    <a:pt x="21600" y="1102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025"/>
                    <a:pt x="7" y="11250"/>
                    <a:pt x="21" y="11475"/>
                  </a:cubicBez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rgbClr val="0000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52" name="Rectangle 36"/>
            <p:cNvSpPr>
              <a:spLocks noChangeArrowheads="1"/>
            </p:cNvSpPr>
            <p:nvPr/>
          </p:nvSpPr>
          <p:spPr bwMode="auto">
            <a:xfrm rot="-5400000">
              <a:off x="2168" y="1777"/>
              <a:ext cx="103" cy="57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53" name="Line 37"/>
            <p:cNvSpPr>
              <a:spLocks noChangeShapeType="1"/>
            </p:cNvSpPr>
            <p:nvPr/>
          </p:nvSpPr>
          <p:spPr bwMode="auto">
            <a:xfrm>
              <a:off x="1967" y="2213"/>
              <a:ext cx="0" cy="28"/>
            </a:xfrm>
            <a:prstGeom prst="line">
              <a:avLst/>
            </a:prstGeom>
            <a:noFill/>
            <a:ln w="9525">
              <a:solidFill>
                <a:srgbClr val="00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</p:grpSp>
      <p:sp>
        <p:nvSpPr>
          <p:cNvPr id="117" name="Rectangle 38"/>
          <p:cNvSpPr>
            <a:spLocks noChangeArrowheads="1"/>
          </p:cNvSpPr>
          <p:nvPr/>
        </p:nvSpPr>
        <p:spPr bwMode="auto">
          <a:xfrm>
            <a:off x="3711131" y="3290981"/>
            <a:ext cx="68032" cy="4427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8" name="Rectangle 39"/>
          <p:cNvSpPr>
            <a:spLocks noChangeArrowheads="1"/>
          </p:cNvSpPr>
          <p:nvPr/>
        </p:nvSpPr>
        <p:spPr bwMode="auto">
          <a:xfrm>
            <a:off x="3770383" y="3798849"/>
            <a:ext cx="1233353" cy="66657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19" name="Rectangle 40"/>
          <p:cNvSpPr>
            <a:spLocks noChangeArrowheads="1"/>
          </p:cNvSpPr>
          <p:nvPr/>
        </p:nvSpPr>
        <p:spPr bwMode="auto">
          <a:xfrm>
            <a:off x="3711131" y="3227499"/>
            <a:ext cx="1207018" cy="58246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20" name="AutoShape 41"/>
          <p:cNvSpPr>
            <a:spLocks noChangeArrowheads="1"/>
          </p:cNvSpPr>
          <p:nvPr/>
        </p:nvSpPr>
        <p:spPr bwMode="auto">
          <a:xfrm>
            <a:off x="3807691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CC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1" name="AutoShape 42"/>
          <p:cNvSpPr>
            <a:spLocks noChangeArrowheads="1"/>
          </p:cNvSpPr>
          <p:nvPr/>
        </p:nvSpPr>
        <p:spPr bwMode="auto">
          <a:xfrm>
            <a:off x="3807692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0066FF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2" name="AutoShape 43"/>
          <p:cNvSpPr>
            <a:spLocks noChangeArrowheads="1"/>
          </p:cNvSpPr>
          <p:nvPr/>
        </p:nvSpPr>
        <p:spPr bwMode="auto">
          <a:xfrm>
            <a:off x="3807692" y="3265588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50000">
                <a:srgbClr val="FF6600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3" name="AutoShape 44"/>
          <p:cNvSpPr>
            <a:spLocks noChangeArrowheads="1"/>
          </p:cNvSpPr>
          <p:nvPr/>
        </p:nvSpPr>
        <p:spPr bwMode="auto">
          <a:xfrm>
            <a:off x="3807692" y="3368748"/>
            <a:ext cx="998533" cy="66657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50000">
                <a:srgbClr val="00FF00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4" name="AutoShape 45"/>
          <p:cNvSpPr>
            <a:spLocks noChangeArrowheads="1"/>
          </p:cNvSpPr>
          <p:nvPr/>
        </p:nvSpPr>
        <p:spPr bwMode="auto">
          <a:xfrm>
            <a:off x="3807692" y="3473496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00FF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5" name="AutoShape 46"/>
          <p:cNvSpPr>
            <a:spLocks noChangeArrowheads="1"/>
          </p:cNvSpPr>
          <p:nvPr/>
        </p:nvSpPr>
        <p:spPr bwMode="auto">
          <a:xfrm>
            <a:off x="4338778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008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6" name="AutoShape 47"/>
          <p:cNvSpPr>
            <a:spLocks noChangeArrowheads="1"/>
          </p:cNvSpPr>
          <p:nvPr/>
        </p:nvSpPr>
        <p:spPr bwMode="auto">
          <a:xfrm>
            <a:off x="4338779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7" name="Rectangle 48"/>
          <p:cNvSpPr>
            <a:spLocks noChangeArrowheads="1"/>
          </p:cNvSpPr>
          <p:nvPr/>
        </p:nvSpPr>
        <p:spPr bwMode="auto">
          <a:xfrm>
            <a:off x="3759411" y="3798849"/>
            <a:ext cx="1233353" cy="66657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28" name="Line 49"/>
          <p:cNvSpPr>
            <a:spLocks noChangeShapeType="1"/>
          </p:cNvSpPr>
          <p:nvPr/>
        </p:nvSpPr>
        <p:spPr bwMode="auto">
          <a:xfrm>
            <a:off x="3719909" y="3795674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29" name="Line 50"/>
          <p:cNvSpPr>
            <a:spLocks noChangeShapeType="1"/>
          </p:cNvSpPr>
          <p:nvPr/>
        </p:nvSpPr>
        <p:spPr bwMode="auto">
          <a:xfrm>
            <a:off x="3719909" y="3227498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0" name="Line 51"/>
          <p:cNvSpPr>
            <a:spLocks noChangeShapeType="1"/>
          </p:cNvSpPr>
          <p:nvPr/>
        </p:nvSpPr>
        <p:spPr bwMode="auto">
          <a:xfrm>
            <a:off x="3711130" y="3224324"/>
            <a:ext cx="0" cy="6031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1" name="Line 52"/>
          <p:cNvSpPr>
            <a:spLocks noChangeShapeType="1"/>
          </p:cNvSpPr>
          <p:nvPr/>
        </p:nvSpPr>
        <p:spPr bwMode="auto">
          <a:xfrm>
            <a:off x="3711130" y="3754410"/>
            <a:ext cx="0" cy="39678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2" name="Line 53"/>
          <p:cNvSpPr>
            <a:spLocks noChangeShapeType="1"/>
          </p:cNvSpPr>
          <p:nvPr/>
        </p:nvSpPr>
        <p:spPr bwMode="auto">
          <a:xfrm>
            <a:off x="4922537" y="3224324"/>
            <a:ext cx="0" cy="53961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3" name="Rectangle 54"/>
          <p:cNvSpPr>
            <a:spLocks noChangeArrowheads="1"/>
          </p:cNvSpPr>
          <p:nvPr/>
        </p:nvSpPr>
        <p:spPr bwMode="auto">
          <a:xfrm>
            <a:off x="5993492" y="3290981"/>
            <a:ext cx="68032" cy="4427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4" name="Rectangle 55"/>
          <p:cNvSpPr>
            <a:spLocks noChangeArrowheads="1"/>
          </p:cNvSpPr>
          <p:nvPr/>
        </p:nvSpPr>
        <p:spPr bwMode="auto">
          <a:xfrm>
            <a:off x="6052746" y="3798849"/>
            <a:ext cx="1233353" cy="66657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5" name="Rectangle 56"/>
          <p:cNvSpPr>
            <a:spLocks noChangeArrowheads="1"/>
          </p:cNvSpPr>
          <p:nvPr/>
        </p:nvSpPr>
        <p:spPr bwMode="auto">
          <a:xfrm>
            <a:off x="5993492" y="3227499"/>
            <a:ext cx="1207018" cy="58246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36" name="AutoShape 57"/>
          <p:cNvSpPr>
            <a:spLocks noChangeArrowheads="1"/>
          </p:cNvSpPr>
          <p:nvPr/>
        </p:nvSpPr>
        <p:spPr bwMode="auto">
          <a:xfrm>
            <a:off x="6090053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CC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37" name="AutoShape 58"/>
          <p:cNvSpPr>
            <a:spLocks noChangeArrowheads="1"/>
          </p:cNvSpPr>
          <p:nvPr/>
        </p:nvSpPr>
        <p:spPr bwMode="auto">
          <a:xfrm>
            <a:off x="6090053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0066FF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38" name="AutoShape 59"/>
          <p:cNvSpPr>
            <a:spLocks noChangeArrowheads="1"/>
          </p:cNvSpPr>
          <p:nvPr/>
        </p:nvSpPr>
        <p:spPr bwMode="auto">
          <a:xfrm>
            <a:off x="6090054" y="3265588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100000">
                <a:srgbClr val="FF6600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39" name="AutoShape 60"/>
          <p:cNvSpPr>
            <a:spLocks noChangeArrowheads="1"/>
          </p:cNvSpPr>
          <p:nvPr/>
        </p:nvSpPr>
        <p:spPr bwMode="auto">
          <a:xfrm>
            <a:off x="6090054" y="3335556"/>
            <a:ext cx="998533" cy="66657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100000">
                <a:srgbClr val="00FF00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40" name="AutoShape 61"/>
          <p:cNvSpPr>
            <a:spLocks noChangeArrowheads="1"/>
          </p:cNvSpPr>
          <p:nvPr/>
        </p:nvSpPr>
        <p:spPr bwMode="auto">
          <a:xfrm>
            <a:off x="6090054" y="3473496"/>
            <a:ext cx="998533" cy="65071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/>
              </a:gs>
              <a:gs pos="50000">
                <a:srgbClr val="FF00FF"/>
              </a:gs>
              <a:gs pos="100000">
                <a:schemeClr val="bg1"/>
              </a:gs>
            </a:gsLst>
            <a:lin ang="0" scaled="1"/>
          </a:gra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45791" dir="3378596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41" name="AutoShape 62"/>
          <p:cNvSpPr>
            <a:spLocks noChangeArrowheads="1"/>
          </p:cNvSpPr>
          <p:nvPr/>
        </p:nvSpPr>
        <p:spPr bwMode="auto">
          <a:xfrm>
            <a:off x="6621140" y="3594114"/>
            <a:ext cx="474029" cy="76180"/>
          </a:xfrm>
          <a:prstGeom prst="roundRect">
            <a:avLst>
              <a:gd name="adj" fmla="val 16667"/>
            </a:avLst>
          </a:prstGeom>
          <a:solidFill>
            <a:srgbClr val="008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42" name="AutoShape 63"/>
          <p:cNvSpPr>
            <a:spLocks noChangeArrowheads="1"/>
          </p:cNvSpPr>
          <p:nvPr/>
        </p:nvSpPr>
        <p:spPr bwMode="auto">
          <a:xfrm>
            <a:off x="6621140" y="3695689"/>
            <a:ext cx="469640" cy="73006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317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marL="228543" indent="-228543" algn="ctr" eaLnBrk="0" hangingPunct="0">
              <a:lnSpc>
                <a:spcPct val="95000"/>
              </a:lnSpc>
              <a:spcBef>
                <a:spcPct val="50000"/>
              </a:spcBef>
              <a:buClr>
                <a:srgbClr val="000000"/>
              </a:buClr>
              <a:buSzPct val="100000"/>
              <a:tabLst>
                <a:tab pos="3656686" algn="l"/>
                <a:tab pos="4266133" algn="l"/>
                <a:tab pos="4875581" algn="l"/>
                <a:tab pos="5485028" algn="l"/>
                <a:tab pos="6094476" algn="l"/>
                <a:tab pos="6703924" algn="l"/>
                <a:tab pos="7313371" algn="l"/>
                <a:tab pos="7922819" algn="l"/>
                <a:tab pos="8532266" algn="l"/>
                <a:tab pos="9141714" algn="l"/>
                <a:tab pos="9751162" algn="l"/>
                <a:tab pos="10360609" algn="l"/>
                <a:tab pos="10970057" algn="l"/>
                <a:tab pos="11579504" algn="l"/>
                <a:tab pos="12188952" algn="l"/>
              </a:tabLst>
              <a:defRPr/>
            </a:pPr>
            <a:endParaRPr lang="en-US" sz="1333" b="1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43" name="Rectangle 64"/>
          <p:cNvSpPr>
            <a:spLocks noChangeArrowheads="1"/>
          </p:cNvSpPr>
          <p:nvPr/>
        </p:nvSpPr>
        <p:spPr bwMode="auto">
          <a:xfrm>
            <a:off x="6041773" y="3798849"/>
            <a:ext cx="1233353" cy="66657"/>
          </a:xfrm>
          <a:prstGeom prst="rect">
            <a:avLst/>
          </a:prstGeom>
          <a:solidFill>
            <a:srgbClr val="C0C0C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44" name="Line 65"/>
          <p:cNvSpPr>
            <a:spLocks noChangeShapeType="1"/>
          </p:cNvSpPr>
          <p:nvPr/>
        </p:nvSpPr>
        <p:spPr bwMode="auto">
          <a:xfrm>
            <a:off x="6002270" y="3795674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45" name="Line 66"/>
          <p:cNvSpPr>
            <a:spLocks noChangeShapeType="1"/>
          </p:cNvSpPr>
          <p:nvPr/>
        </p:nvSpPr>
        <p:spPr bwMode="auto">
          <a:xfrm>
            <a:off x="6002270" y="3227498"/>
            <a:ext cx="1202629" cy="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46" name="Line 67"/>
          <p:cNvSpPr>
            <a:spLocks noChangeShapeType="1"/>
          </p:cNvSpPr>
          <p:nvPr/>
        </p:nvSpPr>
        <p:spPr bwMode="auto">
          <a:xfrm>
            <a:off x="5993492" y="3224324"/>
            <a:ext cx="0" cy="60310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47" name="Line 68"/>
          <p:cNvSpPr>
            <a:spLocks noChangeShapeType="1"/>
          </p:cNvSpPr>
          <p:nvPr/>
        </p:nvSpPr>
        <p:spPr bwMode="auto">
          <a:xfrm>
            <a:off x="5993492" y="3754410"/>
            <a:ext cx="0" cy="39678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sp>
        <p:nvSpPr>
          <p:cNvPr id="148" name="Line 69"/>
          <p:cNvSpPr>
            <a:spLocks noChangeShapeType="1"/>
          </p:cNvSpPr>
          <p:nvPr/>
        </p:nvSpPr>
        <p:spPr bwMode="auto">
          <a:xfrm>
            <a:off x="7202703" y="3224325"/>
            <a:ext cx="0" cy="571351"/>
          </a:xfrm>
          <a:prstGeom prst="line">
            <a:avLst/>
          </a:prstGeom>
          <a:noFill/>
          <a:ln w="9525">
            <a:solidFill>
              <a:srgbClr val="3333CC"/>
            </a:solidFill>
            <a:round/>
            <a:headEnd/>
            <a:tailEnd/>
          </a:ln>
        </p:spPr>
        <p:txBody>
          <a:bodyPr/>
          <a:lstStyle/>
          <a:p>
            <a:endParaRPr lang="en-US" sz="2399">
              <a:latin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640348" y="2701312"/>
            <a:ext cx="1997941" cy="1581113"/>
            <a:chOff x="7240726" y="2060166"/>
            <a:chExt cx="1498846" cy="1186144"/>
          </a:xfrm>
        </p:grpSpPr>
        <p:pic>
          <p:nvPicPr>
            <p:cNvPr id="93" name="Picture 92" descr="cpu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0726" y="2200819"/>
              <a:ext cx="460112" cy="460112"/>
            </a:xfrm>
            <a:prstGeom prst="rect">
              <a:avLst/>
            </a:prstGeom>
          </p:spPr>
        </p:pic>
        <p:pic>
          <p:nvPicPr>
            <p:cNvPr id="158" name="Picture 157" descr="hard-dis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6758" y="2755296"/>
              <a:ext cx="491014" cy="491014"/>
            </a:xfrm>
            <a:prstGeom prst="rect">
              <a:avLst/>
            </a:prstGeom>
          </p:spPr>
        </p:pic>
        <p:pic>
          <p:nvPicPr>
            <p:cNvPr id="159" name="Picture 158" descr="ram-memor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4371" y="2060166"/>
              <a:ext cx="585201" cy="585201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61" name="Rectangle 55"/>
            <p:cNvSpPr>
              <a:spLocks noChangeArrowheads="1"/>
            </p:cNvSpPr>
            <p:nvPr/>
          </p:nvSpPr>
          <p:spPr bwMode="auto">
            <a:xfrm>
              <a:off x="7503204" y="2850658"/>
              <a:ext cx="925256" cy="50006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62" name="Rectangle 56"/>
            <p:cNvSpPr>
              <a:spLocks noChangeArrowheads="1"/>
            </p:cNvSpPr>
            <p:nvPr/>
          </p:nvSpPr>
          <p:spPr bwMode="auto">
            <a:xfrm>
              <a:off x="7458752" y="2422033"/>
              <a:ext cx="905499" cy="43695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63" name="AutoShape 57"/>
            <p:cNvSpPr>
              <a:spLocks noChangeArrowheads="1"/>
            </p:cNvSpPr>
            <p:nvPr/>
          </p:nvSpPr>
          <p:spPr bwMode="auto">
            <a:xfrm>
              <a:off x="7531192" y="2697067"/>
              <a:ext cx="355614" cy="57150"/>
            </a:xfrm>
            <a:prstGeom prst="roundRect">
              <a:avLst>
                <a:gd name="adj" fmla="val 16667"/>
              </a:avLst>
            </a:prstGeom>
            <a:solidFill>
              <a:srgbClr val="CC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4" name="AutoShape 58"/>
            <p:cNvSpPr>
              <a:spLocks noChangeArrowheads="1"/>
            </p:cNvSpPr>
            <p:nvPr/>
          </p:nvSpPr>
          <p:spPr bwMode="auto">
            <a:xfrm>
              <a:off x="7531192" y="2773267"/>
              <a:ext cx="352322" cy="54769"/>
            </a:xfrm>
            <a:prstGeom prst="roundRect">
              <a:avLst>
                <a:gd name="adj" fmla="val 16667"/>
              </a:avLst>
            </a:prstGeom>
            <a:solidFill>
              <a:srgbClr val="0066FF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5" name="AutoShape 59"/>
            <p:cNvSpPr>
              <a:spLocks noChangeArrowheads="1"/>
            </p:cNvSpPr>
            <p:nvPr/>
          </p:nvSpPr>
          <p:spPr bwMode="auto">
            <a:xfrm>
              <a:off x="7531192" y="2450608"/>
              <a:ext cx="749095" cy="48816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FF6600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6" name="AutoShape 60"/>
            <p:cNvSpPr>
              <a:spLocks noChangeArrowheads="1"/>
            </p:cNvSpPr>
            <p:nvPr/>
          </p:nvSpPr>
          <p:spPr bwMode="auto">
            <a:xfrm>
              <a:off x="7531192" y="2527998"/>
              <a:ext cx="749095" cy="50006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00FF00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7" name="AutoShape 61"/>
            <p:cNvSpPr>
              <a:spLocks noChangeArrowheads="1"/>
            </p:cNvSpPr>
            <p:nvPr/>
          </p:nvSpPr>
          <p:spPr bwMode="auto">
            <a:xfrm>
              <a:off x="7531192" y="2606580"/>
              <a:ext cx="749095" cy="48816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50000">
                  <a:srgbClr val="FF00FF"/>
                </a:gs>
                <a:gs pos="100000">
                  <a:schemeClr val="bg1"/>
                </a:gs>
              </a:gsLst>
              <a:lin ang="0" scaled="1"/>
            </a:gra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45791" dir="3378596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8" name="AutoShape 62"/>
            <p:cNvSpPr>
              <a:spLocks noChangeArrowheads="1"/>
            </p:cNvSpPr>
            <p:nvPr/>
          </p:nvSpPr>
          <p:spPr bwMode="auto">
            <a:xfrm>
              <a:off x="7929611" y="2697067"/>
              <a:ext cx="355614" cy="57150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69" name="AutoShape 63"/>
            <p:cNvSpPr>
              <a:spLocks noChangeArrowheads="1"/>
            </p:cNvSpPr>
            <p:nvPr/>
          </p:nvSpPr>
          <p:spPr bwMode="auto">
            <a:xfrm>
              <a:off x="7929611" y="2773267"/>
              <a:ext cx="352322" cy="54769"/>
            </a:xfrm>
            <a:prstGeom prst="roundRect">
              <a:avLst>
                <a:gd name="adj" fmla="val 16667"/>
              </a:avLst>
            </a:prstGeom>
            <a:solidFill>
              <a:srgbClr val="FF0000"/>
            </a:solidFill>
            <a:ln w="3175" algn="ctr">
              <a:solidFill>
                <a:schemeClr val="tx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marL="228543" indent="-228543" algn="ctr" eaLnBrk="0" hangingPunct="0">
                <a:lnSpc>
                  <a:spcPct val="95000"/>
                </a:lnSpc>
                <a:spcBef>
                  <a:spcPct val="50000"/>
                </a:spcBef>
                <a:buClr>
                  <a:srgbClr val="000000"/>
                </a:buClr>
                <a:buSzPct val="100000"/>
                <a:tabLst>
                  <a:tab pos="3656686" algn="l"/>
                  <a:tab pos="4266133" algn="l"/>
                  <a:tab pos="4875581" algn="l"/>
                  <a:tab pos="5485028" algn="l"/>
                  <a:tab pos="6094476" algn="l"/>
                  <a:tab pos="6703924" algn="l"/>
                  <a:tab pos="7313371" algn="l"/>
                  <a:tab pos="7922819" algn="l"/>
                  <a:tab pos="8532266" algn="l"/>
                  <a:tab pos="9141714" algn="l"/>
                  <a:tab pos="9751162" algn="l"/>
                  <a:tab pos="10360609" algn="l"/>
                  <a:tab pos="10970057" algn="l"/>
                  <a:tab pos="11579504" algn="l"/>
                  <a:tab pos="12188952" algn="l"/>
                </a:tabLst>
                <a:defRPr/>
              </a:pPr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70" name="Rectangle 64"/>
            <p:cNvSpPr>
              <a:spLocks noChangeArrowheads="1"/>
            </p:cNvSpPr>
            <p:nvPr/>
          </p:nvSpPr>
          <p:spPr bwMode="auto">
            <a:xfrm>
              <a:off x="7494972" y="2850658"/>
              <a:ext cx="925256" cy="50006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1" name="Line 65"/>
            <p:cNvSpPr>
              <a:spLocks noChangeShapeType="1"/>
            </p:cNvSpPr>
            <p:nvPr/>
          </p:nvSpPr>
          <p:spPr bwMode="auto">
            <a:xfrm>
              <a:off x="7465337" y="2848276"/>
              <a:ext cx="902207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2" name="Line 66"/>
            <p:cNvSpPr>
              <a:spLocks noChangeShapeType="1"/>
            </p:cNvSpPr>
            <p:nvPr/>
          </p:nvSpPr>
          <p:spPr bwMode="auto">
            <a:xfrm>
              <a:off x="7465337" y="2422033"/>
              <a:ext cx="902207" cy="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3" name="Line 67"/>
            <p:cNvSpPr>
              <a:spLocks noChangeShapeType="1"/>
            </p:cNvSpPr>
            <p:nvPr/>
          </p:nvSpPr>
          <p:spPr bwMode="auto">
            <a:xfrm>
              <a:off x="7458752" y="2419652"/>
              <a:ext cx="0" cy="45244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4" name="Line 68"/>
            <p:cNvSpPr>
              <a:spLocks noChangeShapeType="1"/>
            </p:cNvSpPr>
            <p:nvPr/>
          </p:nvSpPr>
          <p:spPr bwMode="auto">
            <a:xfrm>
              <a:off x="7458752" y="2464896"/>
              <a:ext cx="0" cy="382190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5" name="Line 69"/>
            <p:cNvSpPr>
              <a:spLocks noChangeShapeType="1"/>
            </p:cNvSpPr>
            <p:nvPr/>
          </p:nvSpPr>
          <p:spPr bwMode="auto">
            <a:xfrm>
              <a:off x="8365897" y="2419652"/>
              <a:ext cx="0" cy="428625"/>
            </a:xfrm>
            <a:prstGeom prst="line">
              <a:avLst/>
            </a:prstGeom>
            <a:noFill/>
            <a:ln w="9525">
              <a:solidFill>
                <a:srgbClr val="3333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  <p:sp>
          <p:nvSpPr>
            <p:cNvPr id="176" name="Rectangle 70"/>
            <p:cNvSpPr>
              <a:spLocks noChangeArrowheads="1"/>
            </p:cNvSpPr>
            <p:nvPr/>
          </p:nvSpPr>
          <p:spPr bwMode="auto">
            <a:xfrm rot="16200000">
              <a:off x="8192568" y="2656717"/>
              <a:ext cx="419100" cy="59269"/>
            </a:xfrm>
            <a:prstGeom prst="rect">
              <a:avLst/>
            </a:prstGeom>
            <a:solidFill>
              <a:srgbClr val="C0C0C0"/>
            </a:solidFill>
            <a:ln w="9525" algn="ctr">
              <a:noFill/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en-US" sz="2399">
                <a:latin typeface="Arial" panose="020B0604020202020204" pitchFamily="34" charset="0"/>
              </a:endParaRPr>
            </a:p>
          </p:txBody>
        </p:sp>
      </p:grpSp>
      <p:cxnSp>
        <p:nvCxnSpPr>
          <p:cNvPr id="8" name="Straight Arrow Connector 7"/>
          <p:cNvCxnSpPr/>
          <p:nvPr/>
        </p:nvCxnSpPr>
        <p:spPr>
          <a:xfrm flipH="1">
            <a:off x="7578439" y="3487779"/>
            <a:ext cx="1852224" cy="0"/>
          </a:xfrm>
          <a:prstGeom prst="straightConnector1">
            <a:avLst/>
          </a:prstGeom>
          <a:ln w="57150" cmpd="sng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/>
          <p:nvPr/>
        </p:nvCxnSpPr>
        <p:spPr>
          <a:xfrm>
            <a:off x="8183970" y="3711617"/>
            <a:ext cx="1767220" cy="0"/>
          </a:xfrm>
          <a:prstGeom prst="straightConnector1">
            <a:avLst/>
          </a:prstGeom>
          <a:ln w="57150" cmpd="sng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90818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on GemFire Data Storage Patter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6793" y="1156042"/>
            <a:ext cx="686318" cy="650196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9753" y="1156042"/>
            <a:ext cx="686318" cy="650196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724" y="1158829"/>
            <a:ext cx="686318" cy="650196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0505" y="3032978"/>
            <a:ext cx="2160156" cy="486034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2449" y="3032976"/>
            <a:ext cx="2160150" cy="486033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4389" y="3032976"/>
            <a:ext cx="2160150" cy="486033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8566" y="3032977"/>
            <a:ext cx="2160151" cy="486033"/>
          </a:xfrm>
          <a:prstGeom prst="rect">
            <a:avLst/>
          </a:prstGeom>
        </p:spPr>
      </p:pic>
      <p:pic>
        <p:nvPicPr>
          <p:cNvPr id="153" name="Picture 152" descr="Spring-Logos-DATA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486" y="3032978"/>
            <a:ext cx="404294" cy="486034"/>
          </a:xfrm>
          <a:prstGeom prst="rect">
            <a:avLst/>
          </a:prstGeom>
        </p:spPr>
      </p:pic>
      <p:pic>
        <p:nvPicPr>
          <p:cNvPr id="154" name="Picture 1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550" y="3032976"/>
            <a:ext cx="2160150" cy="486033"/>
          </a:xfrm>
          <a:prstGeom prst="rect">
            <a:avLst/>
          </a:prstGeom>
        </p:spPr>
      </p:pic>
      <p:sp>
        <p:nvSpPr>
          <p:cNvPr id="155" name="TextBox 154"/>
          <p:cNvSpPr txBox="1"/>
          <p:nvPr/>
        </p:nvSpPr>
        <p:spPr>
          <a:xfrm>
            <a:off x="458591" y="5146844"/>
            <a:ext cx="1503546" cy="707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99">
                <a:latin typeface="Arial" panose="020B0604020202020204" pitchFamily="34" charset="0"/>
              </a:rPr>
              <a:t>System Of 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Record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3260469" y="5146844"/>
            <a:ext cx="1011552" cy="707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99">
                <a:latin typeface="Arial" panose="020B0604020202020204" pitchFamily="34" charset="0"/>
              </a:rPr>
              <a:t>Cache 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Aside</a:t>
            </a:r>
          </a:p>
        </p:txBody>
      </p:sp>
      <p:pic>
        <p:nvPicPr>
          <p:cNvPr id="158" name="Picture 1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7972" y="1156042"/>
            <a:ext cx="686318" cy="650196"/>
          </a:xfrm>
          <a:prstGeom prst="rect">
            <a:avLst/>
          </a:prstGeom>
        </p:spPr>
      </p:pic>
      <p:cxnSp>
        <p:nvCxnSpPr>
          <p:cNvPr id="160" name="Straight Arrow Connector 159"/>
          <p:cNvCxnSpPr>
            <a:cxnSpLocks/>
            <a:stCxn id="77" idx="2"/>
            <a:endCxn id="153" idx="0"/>
          </p:cNvCxnSpPr>
          <p:nvPr/>
        </p:nvCxnSpPr>
        <p:spPr>
          <a:xfrm flipH="1">
            <a:off x="2654633" y="1806238"/>
            <a:ext cx="1088279" cy="122673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Arrow Connector 160"/>
          <p:cNvCxnSpPr>
            <a:cxnSpLocks/>
            <a:stCxn id="77" idx="2"/>
            <a:endCxn id="144" idx="0"/>
          </p:cNvCxnSpPr>
          <p:nvPr/>
        </p:nvCxnSpPr>
        <p:spPr>
          <a:xfrm>
            <a:off x="3742912" y="1806238"/>
            <a:ext cx="345730" cy="122673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/>
          <p:cNvCxnSpPr>
            <a:stCxn id="78" idx="2"/>
            <a:endCxn id="154" idx="0"/>
          </p:cNvCxnSpPr>
          <p:nvPr/>
        </p:nvCxnSpPr>
        <p:spPr>
          <a:xfrm flipH="1">
            <a:off x="1220625" y="1809025"/>
            <a:ext cx="0" cy="122395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/>
          <p:cNvCxnSpPr>
            <a:stCxn id="75" idx="2"/>
            <a:endCxn id="146" idx="0"/>
          </p:cNvCxnSpPr>
          <p:nvPr/>
        </p:nvCxnSpPr>
        <p:spPr>
          <a:xfrm flipH="1">
            <a:off x="6400583" y="1806238"/>
            <a:ext cx="0" cy="122673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4" name="Picture 173" descr="Spring-Logos-DATA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032" y="4208816"/>
            <a:ext cx="404294" cy="486034"/>
          </a:xfrm>
          <a:prstGeom prst="rect">
            <a:avLst/>
          </a:prstGeom>
        </p:spPr>
      </p:pic>
      <p:cxnSp>
        <p:nvCxnSpPr>
          <p:cNvPr id="175" name="Straight Arrow Connector 174"/>
          <p:cNvCxnSpPr>
            <a:stCxn id="146" idx="2"/>
            <a:endCxn id="174" idx="0"/>
          </p:cNvCxnSpPr>
          <p:nvPr/>
        </p:nvCxnSpPr>
        <p:spPr>
          <a:xfrm flipH="1">
            <a:off x="6391179" y="3519012"/>
            <a:ext cx="0" cy="689803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8" name="Picture 177" descr="Spring-Logos-DATA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0377" y="4208816"/>
            <a:ext cx="404294" cy="486034"/>
          </a:xfrm>
          <a:prstGeom prst="rect">
            <a:avLst/>
          </a:prstGeom>
        </p:spPr>
      </p:pic>
      <p:cxnSp>
        <p:nvCxnSpPr>
          <p:cNvPr id="179" name="Straight Arrow Connector 178"/>
          <p:cNvCxnSpPr>
            <a:stCxn id="158" idx="2"/>
            <a:endCxn id="147" idx="0"/>
          </p:cNvCxnSpPr>
          <p:nvPr/>
        </p:nvCxnSpPr>
        <p:spPr>
          <a:xfrm flipH="1">
            <a:off x="8712524" y="1806238"/>
            <a:ext cx="0" cy="122673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/>
          <p:cNvCxnSpPr>
            <a:stCxn id="147" idx="2"/>
            <a:endCxn id="178" idx="0"/>
          </p:cNvCxnSpPr>
          <p:nvPr/>
        </p:nvCxnSpPr>
        <p:spPr>
          <a:xfrm>
            <a:off x="8712523" y="3519010"/>
            <a:ext cx="0" cy="6898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8" name="Picture 187" descr="Spring-Logos-BOOT-VRT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688" y="900568"/>
            <a:ext cx="1777717" cy="1695970"/>
          </a:xfrm>
          <a:prstGeom prst="rect">
            <a:avLst/>
          </a:prstGeom>
        </p:spPr>
      </p:pic>
      <p:sp>
        <p:nvSpPr>
          <p:cNvPr id="189" name="TextBox 188"/>
          <p:cNvSpPr txBox="1"/>
          <p:nvPr/>
        </p:nvSpPr>
        <p:spPr>
          <a:xfrm>
            <a:off x="5564361" y="5146844"/>
            <a:ext cx="1672446" cy="7076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99">
                <a:latin typeface="Arial" panose="020B0604020202020204" pitchFamily="34" charset="0"/>
              </a:rPr>
              <a:t>Read / Write 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Through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8206200" y="5146844"/>
            <a:ext cx="984564" cy="7076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99">
                <a:latin typeface="Arial" panose="020B0604020202020204" pitchFamily="34" charset="0"/>
              </a:rPr>
              <a:t>Write 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Behind</a:t>
            </a:r>
          </a:p>
        </p:txBody>
      </p:sp>
      <p:cxnSp>
        <p:nvCxnSpPr>
          <p:cNvPr id="191" name="Straight Arrow Connector 190"/>
          <p:cNvCxnSpPr>
            <a:cxnSpLocks/>
            <a:endCxn id="148" idx="0"/>
          </p:cNvCxnSpPr>
          <p:nvPr/>
        </p:nvCxnSpPr>
        <p:spPr>
          <a:xfrm>
            <a:off x="11012547" y="2419608"/>
            <a:ext cx="0" cy="61336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4" name="Picture 193" descr="Spring-Logos-DATA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17" y="4208816"/>
            <a:ext cx="404294" cy="486034"/>
          </a:xfrm>
          <a:prstGeom prst="rect">
            <a:avLst/>
          </a:prstGeom>
        </p:spPr>
      </p:pic>
      <p:cxnSp>
        <p:nvCxnSpPr>
          <p:cNvPr id="195" name="Straight Arrow Connector 194"/>
          <p:cNvCxnSpPr>
            <a:stCxn id="194" idx="0"/>
            <a:endCxn id="148" idx="2"/>
          </p:cNvCxnSpPr>
          <p:nvPr/>
        </p:nvCxnSpPr>
        <p:spPr>
          <a:xfrm flipV="1">
            <a:off x="11024464" y="3519010"/>
            <a:ext cx="0" cy="6898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8" name="TextBox 197"/>
          <p:cNvSpPr txBox="1"/>
          <p:nvPr/>
        </p:nvSpPr>
        <p:spPr>
          <a:xfrm>
            <a:off x="9971272" y="5146844"/>
            <a:ext cx="2046957" cy="1015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9">
                <a:latin typeface="Arial" panose="020B0604020202020204" pitchFamily="34" charset="0"/>
              </a:rPr>
              <a:t>Refresh Ahead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Or</a:t>
            </a:r>
          </a:p>
          <a:p>
            <a:pPr algn="ctr"/>
            <a:r>
              <a:rPr lang="en-US" sz="1999">
                <a:latin typeface="Arial" panose="020B0604020202020204" pitchFamily="34" charset="0"/>
              </a:rPr>
              <a:t>Hot Cache</a:t>
            </a:r>
          </a:p>
        </p:txBody>
      </p:sp>
      <p:cxnSp>
        <p:nvCxnSpPr>
          <p:cNvPr id="200" name="Straight Connector 199"/>
          <p:cNvCxnSpPr/>
          <p:nvPr/>
        </p:nvCxnSpPr>
        <p:spPr>
          <a:xfrm>
            <a:off x="2305156" y="1049379"/>
            <a:ext cx="0" cy="5267695"/>
          </a:xfrm>
          <a:prstGeom prst="line">
            <a:avLst/>
          </a:prstGeom>
          <a:ln w="3175" cmpd="sng">
            <a:solidFill>
              <a:schemeClr val="accent1">
                <a:alpha val="24000"/>
              </a:scheme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/>
        </p:nvCxnSpPr>
        <p:spPr>
          <a:xfrm>
            <a:off x="5205180" y="1049379"/>
            <a:ext cx="0" cy="5267695"/>
          </a:xfrm>
          <a:prstGeom prst="line">
            <a:avLst/>
          </a:prstGeom>
          <a:ln w="3175" cmpd="sng">
            <a:solidFill>
              <a:schemeClr val="accent1">
                <a:alpha val="24000"/>
              </a:scheme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/>
        </p:nvCxnSpPr>
        <p:spPr>
          <a:xfrm>
            <a:off x="7548466" y="1049379"/>
            <a:ext cx="0" cy="5267695"/>
          </a:xfrm>
          <a:prstGeom prst="line">
            <a:avLst/>
          </a:prstGeom>
          <a:ln w="3175" cmpd="sng">
            <a:solidFill>
              <a:schemeClr val="accent1">
                <a:alpha val="24000"/>
              </a:scheme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/>
        </p:nvCxnSpPr>
        <p:spPr>
          <a:xfrm>
            <a:off x="9848490" y="1049379"/>
            <a:ext cx="0" cy="5267695"/>
          </a:xfrm>
          <a:prstGeom prst="line">
            <a:avLst/>
          </a:prstGeom>
          <a:ln w="3175" cmpd="sng">
            <a:solidFill>
              <a:schemeClr val="accent1">
                <a:alpha val="24000"/>
              </a:schemeClr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79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01F1E-F231-4AF2-0C9A-E2531F73C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re can GemFire Run?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83804-7886-E41F-5B25-D4525DD46393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479" y="1315853"/>
            <a:ext cx="5476875" cy="1752600"/>
          </a:xfr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DF84CDD-796C-FDF1-508D-E52CB60992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91742" y="1296803"/>
            <a:ext cx="6096000" cy="1771650"/>
          </a:xfrm>
          <a:prstGeom prst="rect">
            <a:avLst/>
          </a:prstGeom>
        </p:spPr>
      </p:pic>
      <p:pic>
        <p:nvPicPr>
          <p:cNvPr id="1026" name="Picture 2" descr="Kubernetes">
            <a:extLst>
              <a:ext uri="{FF2B5EF4-FFF2-40B4-BE49-F238E27FC236}">
                <a16:creationId xmlns:a16="http://schemas.microsoft.com/office/drawing/2014/main" id="{14559541-2D9C-6E0A-904C-B1E7C8312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184" y="3305683"/>
            <a:ext cx="5027629" cy="1085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049EAFF-0B2F-75EB-5ECD-0B89C9AE02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1580" y="2979202"/>
            <a:ext cx="5905216" cy="1562136"/>
          </a:xfrm>
          <a:prstGeom prst="rect">
            <a:avLst/>
          </a:prstGeom>
        </p:spPr>
      </p:pic>
      <p:grpSp>
        <p:nvGrpSpPr>
          <p:cNvPr id="19" name="Group 18" descr="Private Cloud&#10;">
            <a:extLst>
              <a:ext uri="{FF2B5EF4-FFF2-40B4-BE49-F238E27FC236}">
                <a16:creationId xmlns:a16="http://schemas.microsoft.com/office/drawing/2014/main" id="{837CD905-9ABF-A3FD-7531-861349B24DE4}"/>
              </a:ext>
            </a:extLst>
          </p:cNvPr>
          <p:cNvGrpSpPr/>
          <p:nvPr/>
        </p:nvGrpSpPr>
        <p:grpSpPr>
          <a:xfrm>
            <a:off x="4055899" y="4923062"/>
            <a:ext cx="888813" cy="466134"/>
            <a:chOff x="1848250" y="824311"/>
            <a:chExt cx="600836" cy="343425"/>
          </a:xfrm>
        </p:grpSpPr>
        <p:sp>
          <p:nvSpPr>
            <p:cNvPr id="20" name="Picture Placeholder 75">
              <a:extLst>
                <a:ext uri="{FF2B5EF4-FFF2-40B4-BE49-F238E27FC236}">
                  <a16:creationId xmlns:a16="http://schemas.microsoft.com/office/drawing/2014/main" id="{632E1723-5804-F6E1-4878-6978014130D1}"/>
                </a:ext>
              </a:extLst>
            </p:cNvPr>
            <p:cNvSpPr/>
            <p:nvPr/>
          </p:nvSpPr>
          <p:spPr>
            <a:xfrm>
              <a:off x="1856162" y="832407"/>
              <a:ext cx="584647" cy="327487"/>
            </a:xfrm>
            <a:custGeom>
              <a:avLst/>
              <a:gdLst>
                <a:gd name="connsiteX0" fmla="*/ 94441 w 584647"/>
                <a:gd name="connsiteY0" fmla="*/ 327488 h 327487"/>
                <a:gd name="connsiteX1" fmla="*/ 84258 w 584647"/>
                <a:gd name="connsiteY1" fmla="*/ 327488 h 327487"/>
                <a:gd name="connsiteX2" fmla="*/ 14 w 584647"/>
                <a:gd name="connsiteY2" fmla="*/ 240651 h 327487"/>
                <a:gd name="connsiteX3" fmla="*/ 80147 w 584647"/>
                <a:gd name="connsiteY3" fmla="*/ 162352 h 327487"/>
                <a:gd name="connsiteX4" fmla="*/ 82108 w 584647"/>
                <a:gd name="connsiteY4" fmla="*/ 162352 h 327487"/>
                <a:gd name="connsiteX5" fmla="*/ 101904 w 584647"/>
                <a:gd name="connsiteY5" fmla="*/ 165135 h 327487"/>
                <a:gd name="connsiteX6" fmla="*/ 109999 w 584647"/>
                <a:gd name="connsiteY6" fmla="*/ 167412 h 327487"/>
                <a:gd name="connsiteX7" fmla="*/ 111770 w 584647"/>
                <a:gd name="connsiteY7" fmla="*/ 159190 h 327487"/>
                <a:gd name="connsiteX8" fmla="*/ 212205 w 584647"/>
                <a:gd name="connsiteY8" fmla="*/ 76970 h 327487"/>
                <a:gd name="connsiteX9" fmla="*/ 214735 w 584647"/>
                <a:gd name="connsiteY9" fmla="*/ 76970 h 327487"/>
                <a:gd name="connsiteX10" fmla="*/ 256350 w 584647"/>
                <a:gd name="connsiteY10" fmla="*/ 86963 h 327487"/>
                <a:gd name="connsiteX11" fmla="*/ 264066 w 584647"/>
                <a:gd name="connsiteY11" fmla="*/ 90695 h 327487"/>
                <a:gd name="connsiteX12" fmla="*/ 267166 w 584647"/>
                <a:gd name="connsiteY12" fmla="*/ 82663 h 327487"/>
                <a:gd name="connsiteX13" fmla="*/ 379996 w 584647"/>
                <a:gd name="connsiteY13" fmla="*/ 0 h 327487"/>
                <a:gd name="connsiteX14" fmla="*/ 382969 w 584647"/>
                <a:gd name="connsiteY14" fmla="*/ 0 h 327487"/>
                <a:gd name="connsiteX15" fmla="*/ 501745 w 584647"/>
                <a:gd name="connsiteY15" fmla="*/ 121496 h 327487"/>
                <a:gd name="connsiteX16" fmla="*/ 502377 w 584647"/>
                <a:gd name="connsiteY16" fmla="*/ 127820 h 327487"/>
                <a:gd name="connsiteX17" fmla="*/ 508702 w 584647"/>
                <a:gd name="connsiteY17" fmla="*/ 128453 h 327487"/>
                <a:gd name="connsiteX18" fmla="*/ 584597 w 584647"/>
                <a:gd name="connsiteY18" fmla="*/ 229204 h 327487"/>
                <a:gd name="connsiteX19" fmla="*/ 500796 w 584647"/>
                <a:gd name="connsiteY19" fmla="*/ 326160 h 327487"/>
                <a:gd name="connsiteX20" fmla="*/ 488969 w 584647"/>
                <a:gd name="connsiteY20" fmla="*/ 326160 h 327487"/>
                <a:gd name="connsiteX21" fmla="*/ 292527 w 584647"/>
                <a:gd name="connsiteY21" fmla="*/ 326729 h 327487"/>
                <a:gd name="connsiteX22" fmla="*/ 94441 w 584647"/>
                <a:gd name="connsiteY22" fmla="*/ 327488 h 32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4647" h="327487">
                  <a:moveTo>
                    <a:pt x="94441" y="327488"/>
                  </a:moveTo>
                  <a:lnTo>
                    <a:pt x="84258" y="327488"/>
                  </a:lnTo>
                  <a:cubicBezTo>
                    <a:pt x="39164" y="326223"/>
                    <a:pt x="-871" y="284860"/>
                    <a:pt x="14" y="240651"/>
                  </a:cubicBezTo>
                  <a:cubicBezTo>
                    <a:pt x="1372" y="197271"/>
                    <a:pt x="36746" y="162705"/>
                    <a:pt x="80147" y="162352"/>
                  </a:cubicBezTo>
                  <a:lnTo>
                    <a:pt x="82108" y="162352"/>
                  </a:lnTo>
                  <a:cubicBezTo>
                    <a:pt x="88797" y="162449"/>
                    <a:pt x="95448" y="163384"/>
                    <a:pt x="101904" y="165135"/>
                  </a:cubicBezTo>
                  <a:lnTo>
                    <a:pt x="109999" y="167412"/>
                  </a:lnTo>
                  <a:lnTo>
                    <a:pt x="111770" y="159190"/>
                  </a:lnTo>
                  <a:cubicBezTo>
                    <a:pt x="121824" y="111622"/>
                    <a:pt x="163588" y="77432"/>
                    <a:pt x="212205" y="76970"/>
                  </a:cubicBezTo>
                  <a:lnTo>
                    <a:pt x="214735" y="76970"/>
                  </a:lnTo>
                  <a:cubicBezTo>
                    <a:pt x="229158" y="77314"/>
                    <a:pt x="243344" y="80720"/>
                    <a:pt x="256350" y="86963"/>
                  </a:cubicBezTo>
                  <a:lnTo>
                    <a:pt x="264066" y="90695"/>
                  </a:lnTo>
                  <a:lnTo>
                    <a:pt x="267166" y="82663"/>
                  </a:lnTo>
                  <a:cubicBezTo>
                    <a:pt x="286645" y="32445"/>
                    <a:pt x="330917" y="0"/>
                    <a:pt x="379996" y="0"/>
                  </a:cubicBezTo>
                  <a:lnTo>
                    <a:pt x="382969" y="0"/>
                  </a:lnTo>
                  <a:cubicBezTo>
                    <a:pt x="444507" y="1518"/>
                    <a:pt x="495610" y="53759"/>
                    <a:pt x="501745" y="121496"/>
                  </a:cubicBezTo>
                  <a:lnTo>
                    <a:pt x="502377" y="127820"/>
                  </a:lnTo>
                  <a:lnTo>
                    <a:pt x="508702" y="128453"/>
                  </a:lnTo>
                  <a:cubicBezTo>
                    <a:pt x="552974" y="132627"/>
                    <a:pt x="586115" y="176899"/>
                    <a:pt x="584597" y="229204"/>
                  </a:cubicBezTo>
                  <a:cubicBezTo>
                    <a:pt x="583459" y="282646"/>
                    <a:pt x="545827" y="326160"/>
                    <a:pt x="500796" y="326160"/>
                  </a:cubicBezTo>
                  <a:lnTo>
                    <a:pt x="488969" y="326160"/>
                  </a:lnTo>
                  <a:cubicBezTo>
                    <a:pt x="460066" y="326160"/>
                    <a:pt x="376391" y="326160"/>
                    <a:pt x="292527" y="326729"/>
                  </a:cubicBezTo>
                  <a:cubicBezTo>
                    <a:pt x="208663" y="327298"/>
                    <a:pt x="123787" y="327488"/>
                    <a:pt x="94441" y="327488"/>
                  </a:cubicBezTo>
                  <a:close/>
                </a:path>
              </a:pathLst>
            </a:custGeom>
            <a:solidFill>
              <a:srgbClr val="1D428A"/>
            </a:solidFill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" name="Picture Placeholder 75">
              <a:extLst>
                <a:ext uri="{FF2B5EF4-FFF2-40B4-BE49-F238E27FC236}">
                  <a16:creationId xmlns:a16="http://schemas.microsoft.com/office/drawing/2014/main" id="{2DCEDDC1-3452-8F5C-AB34-6A4D9F9DF7C6}"/>
                </a:ext>
              </a:extLst>
            </p:cNvPr>
            <p:cNvSpPr/>
            <p:nvPr/>
          </p:nvSpPr>
          <p:spPr>
            <a:xfrm>
              <a:off x="1848250" y="824311"/>
              <a:ext cx="600836" cy="343425"/>
            </a:xfrm>
            <a:custGeom>
              <a:avLst/>
              <a:gdLst>
                <a:gd name="connsiteX0" fmla="*/ 387909 w 600836"/>
                <a:gd name="connsiteY0" fmla="*/ 15875 h 343425"/>
                <a:gd name="connsiteX1" fmla="*/ 390755 w 600836"/>
                <a:gd name="connsiteY1" fmla="*/ 15875 h 343425"/>
                <a:gd name="connsiteX2" fmla="*/ 501815 w 600836"/>
                <a:gd name="connsiteY2" fmla="*/ 130224 h 343425"/>
                <a:gd name="connsiteX3" fmla="*/ 502954 w 600836"/>
                <a:gd name="connsiteY3" fmla="*/ 143252 h 343425"/>
                <a:gd name="connsiteX4" fmla="*/ 516046 w 600836"/>
                <a:gd name="connsiteY4" fmla="*/ 144517 h 343425"/>
                <a:gd name="connsiteX5" fmla="*/ 584984 w 600836"/>
                <a:gd name="connsiteY5" fmla="*/ 237299 h 343425"/>
                <a:gd name="connsiteX6" fmla="*/ 509088 w 600836"/>
                <a:gd name="connsiteY6" fmla="*/ 326476 h 343425"/>
                <a:gd name="connsiteX7" fmla="*/ 496882 w 600836"/>
                <a:gd name="connsiteY7" fmla="*/ 326476 h 343425"/>
                <a:gd name="connsiteX8" fmla="*/ 300440 w 600836"/>
                <a:gd name="connsiteY8" fmla="*/ 327045 h 343425"/>
                <a:gd name="connsiteX9" fmla="*/ 102353 w 600836"/>
                <a:gd name="connsiteY9" fmla="*/ 327678 h 343425"/>
                <a:gd name="connsiteX10" fmla="*/ 92424 w 600836"/>
                <a:gd name="connsiteY10" fmla="*/ 327678 h 343425"/>
                <a:gd name="connsiteX11" fmla="*/ 15833 w 600836"/>
                <a:gd name="connsiteY11" fmla="*/ 249000 h 343425"/>
                <a:gd name="connsiteX12" fmla="*/ 88060 w 600836"/>
                <a:gd name="connsiteY12" fmla="*/ 178038 h 343425"/>
                <a:gd name="connsiteX13" fmla="*/ 89894 w 600836"/>
                <a:gd name="connsiteY13" fmla="*/ 178038 h 343425"/>
                <a:gd name="connsiteX14" fmla="*/ 107729 w 600836"/>
                <a:gd name="connsiteY14" fmla="*/ 180567 h 343425"/>
                <a:gd name="connsiteX15" fmla="*/ 123857 w 600836"/>
                <a:gd name="connsiteY15" fmla="*/ 185058 h 343425"/>
                <a:gd name="connsiteX16" fmla="*/ 127399 w 600836"/>
                <a:gd name="connsiteY16" fmla="*/ 168614 h 343425"/>
                <a:gd name="connsiteX17" fmla="*/ 220117 w 600836"/>
                <a:gd name="connsiteY17" fmla="*/ 92719 h 343425"/>
                <a:gd name="connsiteX18" fmla="*/ 222394 w 600836"/>
                <a:gd name="connsiteY18" fmla="*/ 92719 h 343425"/>
                <a:gd name="connsiteX19" fmla="*/ 260785 w 600836"/>
                <a:gd name="connsiteY19" fmla="*/ 101889 h 343425"/>
                <a:gd name="connsiteX20" fmla="*/ 276280 w 600836"/>
                <a:gd name="connsiteY20" fmla="*/ 109416 h 343425"/>
                <a:gd name="connsiteX21" fmla="*/ 282605 w 600836"/>
                <a:gd name="connsiteY21" fmla="*/ 93414 h 343425"/>
                <a:gd name="connsiteX22" fmla="*/ 387909 w 600836"/>
                <a:gd name="connsiteY22" fmla="*/ 15875 h 343425"/>
                <a:gd name="connsiteX23" fmla="*/ 387909 w 600836"/>
                <a:gd name="connsiteY23" fmla="*/ 63 h 343425"/>
                <a:gd name="connsiteX24" fmla="*/ 267742 w 600836"/>
                <a:gd name="connsiteY24" fmla="*/ 87785 h 343425"/>
                <a:gd name="connsiteX25" fmla="*/ 222837 w 600836"/>
                <a:gd name="connsiteY25" fmla="*/ 77034 h 343425"/>
                <a:gd name="connsiteX26" fmla="*/ 220117 w 600836"/>
                <a:gd name="connsiteY26" fmla="*/ 77034 h 343425"/>
                <a:gd name="connsiteX27" fmla="*/ 111967 w 600836"/>
                <a:gd name="connsiteY27" fmla="*/ 165578 h 343425"/>
                <a:gd name="connsiteX28" fmla="*/ 90210 w 600836"/>
                <a:gd name="connsiteY28" fmla="*/ 162479 h 343425"/>
                <a:gd name="connsiteX29" fmla="*/ 88060 w 600836"/>
                <a:gd name="connsiteY29" fmla="*/ 162479 h 343425"/>
                <a:gd name="connsiteX30" fmla="*/ 21 w 600836"/>
                <a:gd name="connsiteY30" fmla="*/ 248557 h 343425"/>
                <a:gd name="connsiteX31" fmla="*/ 91981 w 600836"/>
                <a:gd name="connsiteY31" fmla="*/ 343426 h 343425"/>
                <a:gd name="connsiteX32" fmla="*/ 102353 w 600836"/>
                <a:gd name="connsiteY32" fmla="*/ 343426 h 343425"/>
                <a:gd name="connsiteX33" fmla="*/ 496882 w 600836"/>
                <a:gd name="connsiteY33" fmla="*/ 342224 h 343425"/>
                <a:gd name="connsiteX34" fmla="*/ 509088 w 600836"/>
                <a:gd name="connsiteY34" fmla="*/ 342224 h 343425"/>
                <a:gd name="connsiteX35" fmla="*/ 600795 w 600836"/>
                <a:gd name="connsiteY35" fmla="*/ 237552 h 343425"/>
                <a:gd name="connsiteX36" fmla="*/ 517563 w 600836"/>
                <a:gd name="connsiteY36" fmla="*/ 128706 h 343425"/>
                <a:gd name="connsiteX37" fmla="*/ 391071 w 600836"/>
                <a:gd name="connsiteY37" fmla="*/ 0 h 34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0836" h="343425">
                  <a:moveTo>
                    <a:pt x="387909" y="15875"/>
                  </a:moveTo>
                  <a:lnTo>
                    <a:pt x="390755" y="15875"/>
                  </a:lnTo>
                  <a:cubicBezTo>
                    <a:pt x="448246" y="17266"/>
                    <a:pt x="495996" y="66472"/>
                    <a:pt x="501815" y="130224"/>
                  </a:cubicBezTo>
                  <a:lnTo>
                    <a:pt x="502954" y="143252"/>
                  </a:lnTo>
                  <a:lnTo>
                    <a:pt x="516046" y="144517"/>
                  </a:lnTo>
                  <a:cubicBezTo>
                    <a:pt x="555954" y="148312"/>
                    <a:pt x="586249" y="188789"/>
                    <a:pt x="584984" y="237299"/>
                  </a:cubicBezTo>
                  <a:cubicBezTo>
                    <a:pt x="583719" y="285809"/>
                    <a:pt x="549882" y="326476"/>
                    <a:pt x="509088" y="326476"/>
                  </a:cubicBezTo>
                  <a:lnTo>
                    <a:pt x="496882" y="326476"/>
                  </a:lnTo>
                  <a:cubicBezTo>
                    <a:pt x="467979" y="326476"/>
                    <a:pt x="383039" y="326476"/>
                    <a:pt x="300440" y="327045"/>
                  </a:cubicBezTo>
                  <a:cubicBezTo>
                    <a:pt x="217841" y="327614"/>
                    <a:pt x="131700" y="327678"/>
                    <a:pt x="102353" y="327678"/>
                  </a:cubicBezTo>
                  <a:lnTo>
                    <a:pt x="92424" y="327678"/>
                  </a:lnTo>
                  <a:cubicBezTo>
                    <a:pt x="52136" y="326602"/>
                    <a:pt x="14947" y="288339"/>
                    <a:pt x="15833" y="249000"/>
                  </a:cubicBezTo>
                  <a:cubicBezTo>
                    <a:pt x="16887" y="209762"/>
                    <a:pt x="48809" y="178398"/>
                    <a:pt x="88060" y="178038"/>
                  </a:cubicBezTo>
                  <a:lnTo>
                    <a:pt x="89894" y="178038"/>
                  </a:lnTo>
                  <a:cubicBezTo>
                    <a:pt x="95923" y="178115"/>
                    <a:pt x="101916" y="178966"/>
                    <a:pt x="107729" y="180567"/>
                  </a:cubicBezTo>
                  <a:lnTo>
                    <a:pt x="123857" y="185058"/>
                  </a:lnTo>
                  <a:lnTo>
                    <a:pt x="127399" y="168614"/>
                  </a:lnTo>
                  <a:cubicBezTo>
                    <a:pt x="136704" y="124715"/>
                    <a:pt x="175246" y="93166"/>
                    <a:pt x="220117" y="92719"/>
                  </a:cubicBezTo>
                  <a:lnTo>
                    <a:pt x="222394" y="92719"/>
                  </a:lnTo>
                  <a:cubicBezTo>
                    <a:pt x="235698" y="93006"/>
                    <a:pt x="248787" y="96133"/>
                    <a:pt x="260785" y="101889"/>
                  </a:cubicBezTo>
                  <a:lnTo>
                    <a:pt x="276280" y="109416"/>
                  </a:lnTo>
                  <a:lnTo>
                    <a:pt x="282605" y="93414"/>
                  </a:lnTo>
                  <a:cubicBezTo>
                    <a:pt x="300756" y="46359"/>
                    <a:pt x="342245" y="15875"/>
                    <a:pt x="387909" y="15875"/>
                  </a:cubicBezTo>
                  <a:moveTo>
                    <a:pt x="387909" y="63"/>
                  </a:moveTo>
                  <a:cubicBezTo>
                    <a:pt x="334150" y="63"/>
                    <a:pt x="287727" y="36177"/>
                    <a:pt x="267742" y="87785"/>
                  </a:cubicBezTo>
                  <a:cubicBezTo>
                    <a:pt x="253712" y="81039"/>
                    <a:pt x="238401" y="77373"/>
                    <a:pt x="222837" y="77034"/>
                  </a:cubicBezTo>
                  <a:lnTo>
                    <a:pt x="220117" y="77034"/>
                  </a:lnTo>
                  <a:cubicBezTo>
                    <a:pt x="167659" y="77246"/>
                    <a:pt x="122530" y="114194"/>
                    <a:pt x="111967" y="165578"/>
                  </a:cubicBezTo>
                  <a:cubicBezTo>
                    <a:pt x="104871" y="163645"/>
                    <a:pt x="97563" y="162604"/>
                    <a:pt x="90210" y="162479"/>
                  </a:cubicBezTo>
                  <a:lnTo>
                    <a:pt x="88060" y="162479"/>
                  </a:lnTo>
                  <a:cubicBezTo>
                    <a:pt x="40302" y="162733"/>
                    <a:pt x="1351" y="200817"/>
                    <a:pt x="21" y="248557"/>
                  </a:cubicBezTo>
                  <a:cubicBezTo>
                    <a:pt x="-1117" y="297446"/>
                    <a:pt x="43408" y="342098"/>
                    <a:pt x="91981" y="343426"/>
                  </a:cubicBezTo>
                  <a:lnTo>
                    <a:pt x="102353" y="343426"/>
                  </a:lnTo>
                  <a:cubicBezTo>
                    <a:pt x="160856" y="343426"/>
                    <a:pt x="438949" y="342224"/>
                    <a:pt x="496882" y="342224"/>
                  </a:cubicBezTo>
                  <a:lnTo>
                    <a:pt x="509088" y="342224"/>
                  </a:lnTo>
                  <a:cubicBezTo>
                    <a:pt x="558547" y="342224"/>
                    <a:pt x="599530" y="295612"/>
                    <a:pt x="600795" y="237552"/>
                  </a:cubicBezTo>
                  <a:cubicBezTo>
                    <a:pt x="602250" y="180631"/>
                    <a:pt x="565314" y="133259"/>
                    <a:pt x="517563" y="128706"/>
                  </a:cubicBezTo>
                  <a:cubicBezTo>
                    <a:pt x="511239" y="57680"/>
                    <a:pt x="457543" y="1581"/>
                    <a:pt x="391071" y="0"/>
                  </a:cubicBezTo>
                  <a:close/>
                </a:path>
              </a:pathLst>
            </a:custGeom>
            <a:solidFill>
              <a:srgbClr val="1D428A"/>
            </a:solidFill>
            <a:ln w="62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F1281226-141B-F541-485B-C773AD1F194A}"/>
              </a:ext>
            </a:extLst>
          </p:cNvPr>
          <p:cNvSpPr txBox="1">
            <a:spLocks/>
          </p:cNvSpPr>
          <p:nvPr/>
        </p:nvSpPr>
        <p:spPr>
          <a:xfrm>
            <a:off x="3592663" y="5846438"/>
            <a:ext cx="1950357" cy="269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17074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vate Cloud</a:t>
            </a:r>
          </a:p>
        </p:txBody>
      </p:sp>
      <p:sp>
        <p:nvSpPr>
          <p:cNvPr id="23" name="Picture Placeholder 76" descr="Hybrid Cloud&#10;">
            <a:extLst>
              <a:ext uri="{FF2B5EF4-FFF2-40B4-BE49-F238E27FC236}">
                <a16:creationId xmlns:a16="http://schemas.microsoft.com/office/drawing/2014/main" id="{999D00AB-0933-BDFC-0AA6-315F638E9A1F}"/>
              </a:ext>
            </a:extLst>
          </p:cNvPr>
          <p:cNvSpPr/>
          <p:nvPr/>
        </p:nvSpPr>
        <p:spPr>
          <a:xfrm>
            <a:off x="7371696" y="4923062"/>
            <a:ext cx="888637" cy="465963"/>
          </a:xfrm>
          <a:custGeom>
            <a:avLst/>
            <a:gdLst>
              <a:gd name="connsiteX0" fmla="*/ 517563 w 600717"/>
              <a:gd name="connsiteY0" fmla="*/ 128706 h 343299"/>
              <a:gd name="connsiteX1" fmla="*/ 391071 w 600717"/>
              <a:gd name="connsiteY1" fmla="*/ 0 h 343299"/>
              <a:gd name="connsiteX2" fmla="*/ 387846 w 600717"/>
              <a:gd name="connsiteY2" fmla="*/ 0 h 343299"/>
              <a:gd name="connsiteX3" fmla="*/ 267678 w 600717"/>
              <a:gd name="connsiteY3" fmla="*/ 87722 h 343299"/>
              <a:gd name="connsiteX4" fmla="*/ 222837 w 600717"/>
              <a:gd name="connsiteY4" fmla="*/ 76970 h 343299"/>
              <a:gd name="connsiteX5" fmla="*/ 220117 w 600717"/>
              <a:gd name="connsiteY5" fmla="*/ 76970 h 343299"/>
              <a:gd name="connsiteX6" fmla="*/ 111967 w 600717"/>
              <a:gd name="connsiteY6" fmla="*/ 165515 h 343299"/>
              <a:gd name="connsiteX7" fmla="*/ 90210 w 600717"/>
              <a:gd name="connsiteY7" fmla="*/ 162416 h 343299"/>
              <a:gd name="connsiteX8" fmla="*/ 88060 w 600717"/>
              <a:gd name="connsiteY8" fmla="*/ 162416 h 343299"/>
              <a:gd name="connsiteX9" fmla="*/ 21 w 600717"/>
              <a:gd name="connsiteY9" fmla="*/ 248430 h 343299"/>
              <a:gd name="connsiteX10" fmla="*/ 91981 w 600717"/>
              <a:gd name="connsiteY10" fmla="*/ 343299 h 343299"/>
              <a:gd name="connsiteX11" fmla="*/ 102227 w 600717"/>
              <a:gd name="connsiteY11" fmla="*/ 343299 h 343299"/>
              <a:gd name="connsiteX12" fmla="*/ 496755 w 600717"/>
              <a:gd name="connsiteY12" fmla="*/ 342098 h 343299"/>
              <a:gd name="connsiteX13" fmla="*/ 508962 w 600717"/>
              <a:gd name="connsiteY13" fmla="*/ 342098 h 343299"/>
              <a:gd name="connsiteX14" fmla="*/ 600669 w 600717"/>
              <a:gd name="connsiteY14" fmla="*/ 237425 h 343299"/>
              <a:gd name="connsiteX15" fmla="*/ 517563 w 600717"/>
              <a:gd name="connsiteY15" fmla="*/ 128706 h 343299"/>
              <a:gd name="connsiteX16" fmla="*/ 92424 w 600717"/>
              <a:gd name="connsiteY16" fmla="*/ 327488 h 343299"/>
              <a:gd name="connsiteX17" fmla="*/ 15833 w 600717"/>
              <a:gd name="connsiteY17" fmla="*/ 248810 h 343299"/>
              <a:gd name="connsiteX18" fmla="*/ 88060 w 600717"/>
              <a:gd name="connsiteY18" fmla="*/ 177911 h 343299"/>
              <a:gd name="connsiteX19" fmla="*/ 89894 w 600717"/>
              <a:gd name="connsiteY19" fmla="*/ 177911 h 343299"/>
              <a:gd name="connsiteX20" fmla="*/ 107729 w 600717"/>
              <a:gd name="connsiteY20" fmla="*/ 180441 h 343299"/>
              <a:gd name="connsiteX21" fmla="*/ 123857 w 600717"/>
              <a:gd name="connsiteY21" fmla="*/ 184931 h 343299"/>
              <a:gd name="connsiteX22" fmla="*/ 127399 w 600717"/>
              <a:gd name="connsiteY22" fmla="*/ 168487 h 343299"/>
              <a:gd name="connsiteX23" fmla="*/ 220117 w 600717"/>
              <a:gd name="connsiteY23" fmla="*/ 92592 h 343299"/>
              <a:gd name="connsiteX24" fmla="*/ 222394 w 600717"/>
              <a:gd name="connsiteY24" fmla="*/ 92592 h 343299"/>
              <a:gd name="connsiteX25" fmla="*/ 260785 w 600717"/>
              <a:gd name="connsiteY25" fmla="*/ 101763 h 343299"/>
              <a:gd name="connsiteX26" fmla="*/ 273434 w 600717"/>
              <a:gd name="connsiteY26" fmla="*/ 108087 h 343299"/>
              <a:gd name="connsiteX27" fmla="*/ 273434 w 600717"/>
              <a:gd name="connsiteY27" fmla="*/ 327045 h 343299"/>
              <a:gd name="connsiteX28" fmla="*/ 102164 w 600717"/>
              <a:gd name="connsiteY28" fmla="*/ 327551 h 34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0717" h="343299">
                <a:moveTo>
                  <a:pt x="517563" y="128706"/>
                </a:moveTo>
                <a:cubicBezTo>
                  <a:pt x="511239" y="57680"/>
                  <a:pt x="457543" y="1581"/>
                  <a:pt x="391071" y="0"/>
                </a:cubicBezTo>
                <a:lnTo>
                  <a:pt x="387846" y="0"/>
                </a:lnTo>
                <a:cubicBezTo>
                  <a:pt x="334087" y="0"/>
                  <a:pt x="287664" y="36113"/>
                  <a:pt x="267678" y="87722"/>
                </a:cubicBezTo>
                <a:cubicBezTo>
                  <a:pt x="253671" y="80975"/>
                  <a:pt x="238381" y="77309"/>
                  <a:pt x="222837" y="76970"/>
                </a:cubicBezTo>
                <a:lnTo>
                  <a:pt x="220117" y="76970"/>
                </a:lnTo>
                <a:cubicBezTo>
                  <a:pt x="167659" y="77183"/>
                  <a:pt x="122530" y="114131"/>
                  <a:pt x="111967" y="165515"/>
                </a:cubicBezTo>
                <a:cubicBezTo>
                  <a:pt x="104871" y="163583"/>
                  <a:pt x="97563" y="162542"/>
                  <a:pt x="90210" y="162416"/>
                </a:cubicBezTo>
                <a:lnTo>
                  <a:pt x="88060" y="162416"/>
                </a:lnTo>
                <a:cubicBezTo>
                  <a:pt x="40326" y="162669"/>
                  <a:pt x="1384" y="200715"/>
                  <a:pt x="21" y="248430"/>
                </a:cubicBezTo>
                <a:cubicBezTo>
                  <a:pt x="-1117" y="297319"/>
                  <a:pt x="43408" y="341971"/>
                  <a:pt x="91981" y="343299"/>
                </a:cubicBezTo>
                <a:lnTo>
                  <a:pt x="102227" y="343299"/>
                </a:lnTo>
                <a:cubicBezTo>
                  <a:pt x="160729" y="343299"/>
                  <a:pt x="438822" y="342098"/>
                  <a:pt x="496755" y="342098"/>
                </a:cubicBezTo>
                <a:lnTo>
                  <a:pt x="508962" y="342098"/>
                </a:lnTo>
                <a:cubicBezTo>
                  <a:pt x="558420" y="342098"/>
                  <a:pt x="599404" y="295485"/>
                  <a:pt x="600669" y="237425"/>
                </a:cubicBezTo>
                <a:cubicBezTo>
                  <a:pt x="602250" y="180504"/>
                  <a:pt x="565314" y="133259"/>
                  <a:pt x="517563" y="128706"/>
                </a:cubicBezTo>
                <a:close/>
                <a:moveTo>
                  <a:pt x="92424" y="327488"/>
                </a:moveTo>
                <a:cubicBezTo>
                  <a:pt x="52136" y="326413"/>
                  <a:pt x="14947" y="288149"/>
                  <a:pt x="15833" y="248810"/>
                </a:cubicBezTo>
                <a:cubicBezTo>
                  <a:pt x="16920" y="209597"/>
                  <a:pt x="48833" y="178270"/>
                  <a:pt x="88060" y="177911"/>
                </a:cubicBezTo>
                <a:lnTo>
                  <a:pt x="89894" y="177911"/>
                </a:lnTo>
                <a:cubicBezTo>
                  <a:pt x="95923" y="177994"/>
                  <a:pt x="101916" y="178844"/>
                  <a:pt x="107729" y="180441"/>
                </a:cubicBezTo>
                <a:lnTo>
                  <a:pt x="123857" y="184931"/>
                </a:lnTo>
                <a:lnTo>
                  <a:pt x="127399" y="168487"/>
                </a:lnTo>
                <a:cubicBezTo>
                  <a:pt x="136704" y="124588"/>
                  <a:pt x="175246" y="93039"/>
                  <a:pt x="220117" y="92592"/>
                </a:cubicBezTo>
                <a:lnTo>
                  <a:pt x="222394" y="92592"/>
                </a:lnTo>
                <a:cubicBezTo>
                  <a:pt x="235698" y="92880"/>
                  <a:pt x="248787" y="96006"/>
                  <a:pt x="260785" y="101763"/>
                </a:cubicBezTo>
                <a:lnTo>
                  <a:pt x="273434" y="108087"/>
                </a:lnTo>
                <a:lnTo>
                  <a:pt x="273434" y="327045"/>
                </a:lnTo>
                <a:cubicBezTo>
                  <a:pt x="199436" y="327045"/>
                  <a:pt x="127968" y="327551"/>
                  <a:pt x="102164" y="327551"/>
                </a:cubicBezTo>
                <a:close/>
              </a:path>
            </a:pathLst>
          </a:custGeom>
          <a:solidFill>
            <a:srgbClr val="1D428A"/>
          </a:solidFill>
          <a:ln w="627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154B0F9-2BFD-3DF1-6453-5BEF89A0075D}"/>
              </a:ext>
            </a:extLst>
          </p:cNvPr>
          <p:cNvSpPr txBox="1">
            <a:spLocks/>
          </p:cNvSpPr>
          <p:nvPr/>
        </p:nvSpPr>
        <p:spPr>
          <a:xfrm>
            <a:off x="6847133" y="5872490"/>
            <a:ext cx="1950357" cy="517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17074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ybrid Cloud</a:t>
            </a:r>
          </a:p>
        </p:txBody>
      </p:sp>
      <p:sp>
        <p:nvSpPr>
          <p:cNvPr id="27" name="Picture Placeholder 74" descr="Public Cloud&#10;">
            <a:extLst>
              <a:ext uri="{FF2B5EF4-FFF2-40B4-BE49-F238E27FC236}">
                <a16:creationId xmlns:a16="http://schemas.microsoft.com/office/drawing/2014/main" id="{A4728155-138C-96F8-167C-4F6EB122206A}"/>
              </a:ext>
            </a:extLst>
          </p:cNvPr>
          <p:cNvSpPr/>
          <p:nvPr/>
        </p:nvSpPr>
        <p:spPr>
          <a:xfrm>
            <a:off x="960397" y="4920073"/>
            <a:ext cx="888811" cy="466134"/>
          </a:xfrm>
          <a:custGeom>
            <a:avLst/>
            <a:gdLst>
              <a:gd name="connsiteX0" fmla="*/ 387848 w 600835"/>
              <a:gd name="connsiteY0" fmla="*/ 15875 h 343425"/>
              <a:gd name="connsiteX1" fmla="*/ 390694 w 600835"/>
              <a:gd name="connsiteY1" fmla="*/ 15875 h 343425"/>
              <a:gd name="connsiteX2" fmla="*/ 501754 w 600835"/>
              <a:gd name="connsiteY2" fmla="*/ 130224 h 343425"/>
              <a:gd name="connsiteX3" fmla="*/ 502956 w 600835"/>
              <a:gd name="connsiteY3" fmla="*/ 143252 h 343425"/>
              <a:gd name="connsiteX4" fmla="*/ 515985 w 600835"/>
              <a:gd name="connsiteY4" fmla="*/ 144517 h 343425"/>
              <a:gd name="connsiteX5" fmla="*/ 584986 w 600835"/>
              <a:gd name="connsiteY5" fmla="*/ 237299 h 343425"/>
              <a:gd name="connsiteX6" fmla="*/ 509091 w 600835"/>
              <a:gd name="connsiteY6" fmla="*/ 326476 h 343425"/>
              <a:gd name="connsiteX7" fmla="*/ 496821 w 600835"/>
              <a:gd name="connsiteY7" fmla="*/ 326476 h 343425"/>
              <a:gd name="connsiteX8" fmla="*/ 300442 w 600835"/>
              <a:gd name="connsiteY8" fmla="*/ 327045 h 343425"/>
              <a:gd name="connsiteX9" fmla="*/ 102293 w 600835"/>
              <a:gd name="connsiteY9" fmla="*/ 327678 h 343425"/>
              <a:gd name="connsiteX10" fmla="*/ 92363 w 600835"/>
              <a:gd name="connsiteY10" fmla="*/ 327678 h 343425"/>
              <a:gd name="connsiteX11" fmla="*/ 15835 w 600835"/>
              <a:gd name="connsiteY11" fmla="*/ 249000 h 343425"/>
              <a:gd name="connsiteX12" fmla="*/ 87999 w 600835"/>
              <a:gd name="connsiteY12" fmla="*/ 178038 h 343425"/>
              <a:gd name="connsiteX13" fmla="*/ 89833 w 600835"/>
              <a:gd name="connsiteY13" fmla="*/ 178038 h 343425"/>
              <a:gd name="connsiteX14" fmla="*/ 107668 w 600835"/>
              <a:gd name="connsiteY14" fmla="*/ 180567 h 343425"/>
              <a:gd name="connsiteX15" fmla="*/ 123859 w 600835"/>
              <a:gd name="connsiteY15" fmla="*/ 185058 h 343425"/>
              <a:gd name="connsiteX16" fmla="*/ 127338 w 600835"/>
              <a:gd name="connsiteY16" fmla="*/ 168614 h 343425"/>
              <a:gd name="connsiteX17" fmla="*/ 220057 w 600835"/>
              <a:gd name="connsiteY17" fmla="*/ 92719 h 343425"/>
              <a:gd name="connsiteX18" fmla="*/ 222333 w 600835"/>
              <a:gd name="connsiteY18" fmla="*/ 92719 h 343425"/>
              <a:gd name="connsiteX19" fmla="*/ 260787 w 600835"/>
              <a:gd name="connsiteY19" fmla="*/ 101889 h 343425"/>
              <a:gd name="connsiteX20" fmla="*/ 276219 w 600835"/>
              <a:gd name="connsiteY20" fmla="*/ 109416 h 343425"/>
              <a:gd name="connsiteX21" fmla="*/ 282544 w 600835"/>
              <a:gd name="connsiteY21" fmla="*/ 93414 h 343425"/>
              <a:gd name="connsiteX22" fmla="*/ 387848 w 600835"/>
              <a:gd name="connsiteY22" fmla="*/ 15875 h 343425"/>
              <a:gd name="connsiteX23" fmla="*/ 387848 w 600835"/>
              <a:gd name="connsiteY23" fmla="*/ 63 h 343425"/>
              <a:gd name="connsiteX24" fmla="*/ 267681 w 600835"/>
              <a:gd name="connsiteY24" fmla="*/ 87785 h 343425"/>
              <a:gd name="connsiteX25" fmla="*/ 222776 w 600835"/>
              <a:gd name="connsiteY25" fmla="*/ 77034 h 343425"/>
              <a:gd name="connsiteX26" fmla="*/ 220057 w 600835"/>
              <a:gd name="connsiteY26" fmla="*/ 77034 h 343425"/>
              <a:gd name="connsiteX27" fmla="*/ 111906 w 600835"/>
              <a:gd name="connsiteY27" fmla="*/ 165578 h 343425"/>
              <a:gd name="connsiteX28" fmla="*/ 90149 w 600835"/>
              <a:gd name="connsiteY28" fmla="*/ 162479 h 343425"/>
              <a:gd name="connsiteX29" fmla="*/ 87999 w 600835"/>
              <a:gd name="connsiteY29" fmla="*/ 162479 h 343425"/>
              <a:gd name="connsiteX30" fmla="*/ 24 w 600835"/>
              <a:gd name="connsiteY30" fmla="*/ 248557 h 343425"/>
              <a:gd name="connsiteX31" fmla="*/ 91983 w 600835"/>
              <a:gd name="connsiteY31" fmla="*/ 343426 h 343425"/>
              <a:gd name="connsiteX32" fmla="*/ 102293 w 600835"/>
              <a:gd name="connsiteY32" fmla="*/ 343426 h 343425"/>
              <a:gd name="connsiteX33" fmla="*/ 496821 w 600835"/>
              <a:gd name="connsiteY33" fmla="*/ 342224 h 343425"/>
              <a:gd name="connsiteX34" fmla="*/ 509091 w 600835"/>
              <a:gd name="connsiteY34" fmla="*/ 342224 h 343425"/>
              <a:gd name="connsiteX35" fmla="*/ 600798 w 600835"/>
              <a:gd name="connsiteY35" fmla="*/ 237552 h 343425"/>
              <a:gd name="connsiteX36" fmla="*/ 517503 w 600835"/>
              <a:gd name="connsiteY36" fmla="*/ 128706 h 343425"/>
              <a:gd name="connsiteX37" fmla="*/ 391011 w 600835"/>
              <a:gd name="connsiteY37" fmla="*/ 0 h 34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600835" h="343425">
                <a:moveTo>
                  <a:pt x="387848" y="15875"/>
                </a:moveTo>
                <a:lnTo>
                  <a:pt x="390694" y="15875"/>
                </a:lnTo>
                <a:cubicBezTo>
                  <a:pt x="448185" y="17266"/>
                  <a:pt x="495936" y="66472"/>
                  <a:pt x="501754" y="130224"/>
                </a:cubicBezTo>
                <a:lnTo>
                  <a:pt x="502956" y="143252"/>
                </a:lnTo>
                <a:lnTo>
                  <a:pt x="515985" y="144517"/>
                </a:lnTo>
                <a:cubicBezTo>
                  <a:pt x="555893" y="148312"/>
                  <a:pt x="586188" y="188789"/>
                  <a:pt x="584986" y="237299"/>
                </a:cubicBezTo>
                <a:cubicBezTo>
                  <a:pt x="583784" y="285809"/>
                  <a:pt x="549821" y="326476"/>
                  <a:pt x="509091" y="326476"/>
                </a:cubicBezTo>
                <a:lnTo>
                  <a:pt x="496821" y="326476"/>
                </a:lnTo>
                <a:cubicBezTo>
                  <a:pt x="467918" y="326476"/>
                  <a:pt x="382978" y="326476"/>
                  <a:pt x="300442" y="327045"/>
                </a:cubicBezTo>
                <a:cubicBezTo>
                  <a:pt x="217906" y="327614"/>
                  <a:pt x="131639" y="327678"/>
                  <a:pt x="102293" y="327678"/>
                </a:cubicBezTo>
                <a:lnTo>
                  <a:pt x="92363" y="327678"/>
                </a:lnTo>
                <a:cubicBezTo>
                  <a:pt x="52075" y="326602"/>
                  <a:pt x="14887" y="288339"/>
                  <a:pt x="15835" y="249000"/>
                </a:cubicBezTo>
                <a:cubicBezTo>
                  <a:pt x="16823" y="209758"/>
                  <a:pt x="48746" y="178366"/>
                  <a:pt x="87999" y="178038"/>
                </a:cubicBezTo>
                <a:lnTo>
                  <a:pt x="89833" y="178038"/>
                </a:lnTo>
                <a:cubicBezTo>
                  <a:pt x="95862" y="178115"/>
                  <a:pt x="101856" y="178966"/>
                  <a:pt x="107668" y="180567"/>
                </a:cubicBezTo>
                <a:lnTo>
                  <a:pt x="123859" y="185058"/>
                </a:lnTo>
                <a:lnTo>
                  <a:pt x="127338" y="168614"/>
                </a:lnTo>
                <a:cubicBezTo>
                  <a:pt x="136664" y="124728"/>
                  <a:pt x="175194" y="93190"/>
                  <a:pt x="220057" y="92719"/>
                </a:cubicBezTo>
                <a:lnTo>
                  <a:pt x="222333" y="92719"/>
                </a:lnTo>
                <a:cubicBezTo>
                  <a:pt x="235658" y="93005"/>
                  <a:pt x="248768" y="96131"/>
                  <a:pt x="260787" y="101889"/>
                </a:cubicBezTo>
                <a:lnTo>
                  <a:pt x="276219" y="109416"/>
                </a:lnTo>
                <a:lnTo>
                  <a:pt x="282544" y="93414"/>
                </a:lnTo>
                <a:cubicBezTo>
                  <a:pt x="300695" y="46359"/>
                  <a:pt x="341995" y="15875"/>
                  <a:pt x="387848" y="15875"/>
                </a:cubicBezTo>
                <a:moveTo>
                  <a:pt x="387848" y="63"/>
                </a:moveTo>
                <a:cubicBezTo>
                  <a:pt x="334152" y="63"/>
                  <a:pt x="287667" y="36177"/>
                  <a:pt x="267681" y="87785"/>
                </a:cubicBezTo>
                <a:cubicBezTo>
                  <a:pt x="253654" y="81031"/>
                  <a:pt x="238341" y="77365"/>
                  <a:pt x="222776" y="77034"/>
                </a:cubicBezTo>
                <a:lnTo>
                  <a:pt x="220057" y="77034"/>
                </a:lnTo>
                <a:cubicBezTo>
                  <a:pt x="167607" y="77270"/>
                  <a:pt x="122491" y="114208"/>
                  <a:pt x="111906" y="165578"/>
                </a:cubicBezTo>
                <a:cubicBezTo>
                  <a:pt x="104812" y="163637"/>
                  <a:pt x="97503" y="162596"/>
                  <a:pt x="90149" y="162479"/>
                </a:cubicBezTo>
                <a:lnTo>
                  <a:pt x="87999" y="162479"/>
                </a:lnTo>
                <a:cubicBezTo>
                  <a:pt x="40266" y="162767"/>
                  <a:pt x="1353" y="200841"/>
                  <a:pt x="24" y="248557"/>
                </a:cubicBezTo>
                <a:cubicBezTo>
                  <a:pt x="-1178" y="297446"/>
                  <a:pt x="43347" y="342098"/>
                  <a:pt x="91983" y="343426"/>
                </a:cubicBezTo>
                <a:lnTo>
                  <a:pt x="102293" y="343426"/>
                </a:lnTo>
                <a:cubicBezTo>
                  <a:pt x="160858" y="343426"/>
                  <a:pt x="438951" y="342224"/>
                  <a:pt x="496821" y="342224"/>
                </a:cubicBezTo>
                <a:lnTo>
                  <a:pt x="509091" y="342224"/>
                </a:lnTo>
                <a:cubicBezTo>
                  <a:pt x="558486" y="342224"/>
                  <a:pt x="599469" y="295612"/>
                  <a:pt x="600798" y="237552"/>
                </a:cubicBezTo>
                <a:cubicBezTo>
                  <a:pt x="602189" y="180631"/>
                  <a:pt x="565253" y="133259"/>
                  <a:pt x="517503" y="128706"/>
                </a:cubicBezTo>
                <a:cubicBezTo>
                  <a:pt x="511178" y="57680"/>
                  <a:pt x="457545" y="1581"/>
                  <a:pt x="391011" y="0"/>
                </a:cubicBezTo>
                <a:close/>
              </a:path>
            </a:pathLst>
          </a:custGeom>
          <a:solidFill>
            <a:srgbClr val="1D428A"/>
          </a:solidFill>
          <a:ln w="627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9DDBFB8-21D9-1AE5-5435-7F19DDA8128B}"/>
              </a:ext>
            </a:extLst>
          </p:cNvPr>
          <p:cNvSpPr txBox="1">
            <a:spLocks/>
          </p:cNvSpPr>
          <p:nvPr/>
        </p:nvSpPr>
        <p:spPr>
          <a:xfrm>
            <a:off x="386595" y="5858961"/>
            <a:ext cx="1950357" cy="517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17074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c Cloud</a:t>
            </a:r>
          </a:p>
        </p:txBody>
      </p:sp>
      <p:pic>
        <p:nvPicPr>
          <p:cNvPr id="31" name="Picture Placeholder 83" descr="Servers B&#10;">
            <a:extLst>
              <a:ext uri="{FF2B5EF4-FFF2-40B4-BE49-F238E27FC236}">
                <a16:creationId xmlns:a16="http://schemas.microsoft.com/office/drawing/2014/main" id="{F070F8F4-D34E-40A5-6307-F1EB8D6A1C1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04" r="104"/>
          <a:stretch/>
        </p:blipFill>
        <p:spPr>
          <a:xfrm>
            <a:off x="10467024" y="4816305"/>
            <a:ext cx="1122713" cy="1030133"/>
          </a:xfrm>
          <a:prstGeom prst="rect">
            <a:avLst/>
          </a:prstGeom>
        </p:spPr>
      </p:pic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0991A97E-CC40-B86B-960C-438B6A4C2A96}"/>
              </a:ext>
            </a:extLst>
          </p:cNvPr>
          <p:cNvSpPr txBox="1">
            <a:spLocks/>
          </p:cNvSpPr>
          <p:nvPr/>
        </p:nvSpPr>
        <p:spPr>
          <a:xfrm>
            <a:off x="10053201" y="5858961"/>
            <a:ext cx="1950357" cy="517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58888" indent="-11112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95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5098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22438" indent="-1206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SzPct val="90000"/>
              <a:buFont typeface="System Font Regular"/>
              <a:buChar char="-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717074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Char char="​"/>
              <a:tabLst/>
              <a:defRPr/>
            </a:pPr>
            <a:r>
              <a:rPr lang="en-US" sz="1600">
                <a:solidFill>
                  <a:srgbClr val="3F3F3F"/>
                </a:solidFill>
                <a:latin typeface="Arial" panose="020B0604020202020204" pitchFamily="34" charset="0"/>
              </a:rPr>
              <a:t>Bare Met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54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Custom 6">
      <a:dk1>
        <a:srgbClr val="717074"/>
      </a:dk1>
      <a:lt1>
        <a:srgbClr val="FFFFFF"/>
      </a:lt1>
      <a:dk2>
        <a:srgbClr val="3F3F3F"/>
      </a:dk2>
      <a:lt2>
        <a:srgbClr val="F2F2F2"/>
      </a:lt2>
      <a:accent1>
        <a:srgbClr val="0091DA"/>
      </a:accent1>
      <a:accent2>
        <a:srgbClr val="1D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459B36"/>
      </a:accent6>
      <a:hlink>
        <a:srgbClr val="1A418A"/>
      </a:hlink>
      <a:folHlink>
        <a:srgbClr val="3F3F3F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30000"/>
          </a:lnSpc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angerine">
      <a:srgbClr val="EC7700"/>
    </a:custClr>
    <a:custClr name="Crimson">
      <a:srgbClr val="9F2842"/>
    </a:custClr>
    <a:custClr name="Pale Blue">
      <a:srgbClr val="F4F8FA"/>
    </a:custClr>
  </a:custClrLst>
  <a:extLst>
    <a:ext uri="{05A4C25C-085E-4340-85A3-A5531E510DB2}">
      <thm15:themeFamily xmlns:thm15="http://schemas.microsoft.com/office/thememl/2012/main" name="skinny-PPT-Light-June-2020-ACCESSIBLE" id="{0CECDBDA-90D1-134F-87E2-EE3800325540}" vid="{7B09F0D8-43AA-FF47-8B59-F16F1FFE8153}"/>
    </a:ext>
  </a:ext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AULT_x003f_ xmlns="9e614314-9e40-47b1-8a68-24499f6c1213">false</VAULT_x003f_>
    <Data xmlns="9e614314-9e40-47b1-8a68-24499f6c1213" xsi:nil="true"/>
    <SharedWithUsers xmlns="14cdeed3-e85c-417d-8dba-84e85884430e">
      <UserInfo>
        <DisplayName>Anthony Baker</DisplayName>
        <AccountId>378</AccountId>
        <AccountType/>
      </UserInfo>
      <UserInfo>
        <DisplayName>Barbara Eder</DisplayName>
        <AccountId>11190</AccountId>
        <AccountType/>
      </UserInfo>
      <UserInfo>
        <DisplayName>Omotola Awofolu</DisplayName>
        <AccountId>805</AccountId>
        <AccountType/>
      </UserInfo>
    </SharedWithUsers>
    <DocumentSME xmlns="9e614314-9e40-47b1-8a68-24499f6c1213">
      <UserInfo>
        <DisplayName/>
        <AccountId xsi:nil="true"/>
        <AccountType/>
      </UserInfo>
    </DocumentSME>
    <lcf76f155ced4ddcb4097134ff3c332f xmlns="9e614314-9e40-47b1-8a68-24499f6c1213">
      <Terms xmlns="http://schemas.microsoft.com/office/infopath/2007/PartnerControls"/>
    </lcf76f155ced4ddcb4097134ff3c332f>
    <TaxCatchAll xmlns="eb3a237d-4129-4a2a-8fb3-b20be8ca4bd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8372AB93777E499FFBED71EAB59D9C" ma:contentTypeVersion="21" ma:contentTypeDescription="Create a new document." ma:contentTypeScope="" ma:versionID="f487050daa76e940203a9d9a7b0bfc8a">
  <xsd:schema xmlns:xsd="http://www.w3.org/2001/XMLSchema" xmlns:xs="http://www.w3.org/2001/XMLSchema" xmlns:p="http://schemas.microsoft.com/office/2006/metadata/properties" xmlns:ns2="9e614314-9e40-47b1-8a68-24499f6c1213" xmlns:ns3="14cdeed3-e85c-417d-8dba-84e85884430e" xmlns:ns4="eb3a237d-4129-4a2a-8fb3-b20be8ca4bd3" targetNamespace="http://schemas.microsoft.com/office/2006/metadata/properties" ma:root="true" ma:fieldsID="ae6858571008a80fcebcdcf6caee8979" ns2:_="" ns3:_="" ns4:_="">
    <xsd:import namespace="9e614314-9e40-47b1-8a68-24499f6c1213"/>
    <xsd:import namespace="14cdeed3-e85c-417d-8dba-84e85884430e"/>
    <xsd:import namespace="eb3a237d-4129-4a2a-8fb3-b20be8ca4bd3"/>
    <xsd:element name="properties">
      <xsd:complexType>
        <xsd:sequence>
          <xsd:element name="documentManagement">
            <xsd:complexType>
              <xsd:all>
                <xsd:element ref="ns2:Data" minOccurs="0"/>
                <xsd:element ref="ns2:DocumentSM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VAULT_x003f_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614314-9e40-47b1-8a68-24499f6c1213" elementFormDefault="qualified">
    <xsd:import namespace="http://schemas.microsoft.com/office/2006/documentManagement/types"/>
    <xsd:import namespace="http://schemas.microsoft.com/office/infopath/2007/PartnerControls"/>
    <xsd:element name="Data" ma:index="2" nillable="true" ma:displayName="Data" ma:format="DateOnly" ma:internalName="Data" ma:readOnly="false">
      <xsd:simpleType>
        <xsd:restriction base="dms:DateTime"/>
      </xsd:simpleType>
    </xsd:element>
    <xsd:element name="DocumentSME" ma:index="3" nillable="true" ma:displayName="Document SME" ma:format="Dropdown" ma:list="UserInfo" ma:SharePointGroup="0" ma:internalName="DocumentSME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hidden="true" ma:internalName="MediaServiceKeyPoints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hidden="true" ma:internalName="MediaServiceAutoTags" ma:readOnly="true">
      <xsd:simpleType>
        <xsd:restriction base="dms:Text"/>
      </xsd:simpleType>
    </xsd:element>
    <xsd:element name="MediaServiceOCR" ma:index="16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hidden="true" ma:internalName="MediaLengthInSeconds" ma:readOnly="true">
      <xsd:simpleType>
        <xsd:restriction base="dms:Unknown"/>
      </xsd:simpleType>
    </xsd:element>
    <xsd:element name="VAULT_x003f_" ma:index="23" nillable="true" ma:displayName="VAULT?" ma:default="0" ma:description="Is this document linked to VAULT" ma:format="Dropdown" ma:internalName="VAULT_x003f_">
      <xsd:simpleType>
        <xsd:restriction base="dms:Boolea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95e2881d-93c9-4b6d-a08c-48bb4ed1ec6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deed3-e85c-417d-8dba-84e85884430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3a237d-4129-4a2a-8fb3-b20be8ca4bd3" elementFormDefault="qualified">
    <xsd:import namespace="http://schemas.microsoft.com/office/2006/documentManagement/types"/>
    <xsd:import namespace="http://schemas.microsoft.com/office/infopath/2007/PartnerControls"/>
    <xsd:element name="TaxCatchAll" ma:index="26" nillable="true" ma:displayName="Taxonomy Catch All Column" ma:hidden="true" ma:list="{cd892afa-9dc6-425e-9a7c-f61ab7811631}" ma:internalName="TaxCatchAll" ma:showField="CatchAllData" ma:web="14cdeed3-e85c-417d-8dba-84e8588443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B9FC6C-56D1-44BF-B426-C7BAE0D49AC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7ADF4C-0DF4-4E3C-9053-586FA580488C}">
  <ds:schemaRefs>
    <ds:schemaRef ds:uri="14cdeed3-e85c-417d-8dba-84e85884430e"/>
    <ds:schemaRef ds:uri="9e614314-9e40-47b1-8a68-24499f6c1213"/>
    <ds:schemaRef ds:uri="eb3a237d-4129-4a2a-8fb3-b20be8ca4b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5241B0E-384E-4EC8-8005-23303A665DEB}">
  <ds:schemaRefs>
    <ds:schemaRef ds:uri="14cdeed3-e85c-417d-8dba-84e85884430e"/>
    <ds:schemaRef ds:uri="9e614314-9e40-47b1-8a68-24499f6c1213"/>
    <ds:schemaRef ds:uri="eb3a237d-4129-4a2a-8fb3-b20be8ca4b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</Template>
  <TotalTime>528</TotalTime>
  <Words>1466</Words>
  <Application>Microsoft Office PowerPoint</Application>
  <PresentationFormat>Custom</PresentationFormat>
  <Paragraphs>242</Paragraphs>
  <Slides>3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American Typewriter</vt:lpstr>
      <vt:lpstr>Arial</vt:lpstr>
      <vt:lpstr>Camphor Std</vt:lpstr>
      <vt:lpstr>Hack Regular</vt:lpstr>
      <vt:lpstr>Helvetica Light</vt:lpstr>
      <vt:lpstr>JetBrains Mono</vt:lpstr>
      <vt:lpstr>Merriweather Sans</vt:lpstr>
      <vt:lpstr>Metropolis</vt:lpstr>
      <vt:lpstr>Metropolis Light</vt:lpstr>
      <vt:lpstr>Noto Sans Symbols</vt:lpstr>
      <vt:lpstr>OCR-A II</vt:lpstr>
      <vt:lpstr>Open Sans</vt:lpstr>
      <vt:lpstr>Source Code Pro</vt:lpstr>
      <vt:lpstr>System Font Regular</vt:lpstr>
      <vt:lpstr>VMware_white_16x9</vt:lpstr>
      <vt:lpstr>think-cell Slide</vt:lpstr>
      <vt:lpstr>VMware Tanzu GemFire  Made Simple with Spring Caching</vt:lpstr>
      <vt:lpstr>PowerPoint Presentation</vt:lpstr>
      <vt:lpstr>What is VMware GemFire?</vt:lpstr>
      <vt:lpstr>PowerPoint Presentation</vt:lpstr>
      <vt:lpstr>PowerPoint Presentation</vt:lpstr>
      <vt:lpstr>Memory Biased Performance</vt:lpstr>
      <vt:lpstr>Elastic and Scalable</vt:lpstr>
      <vt:lpstr>Common GemFire Data Storage Patterns</vt:lpstr>
      <vt:lpstr>Where can GemFire Run?</vt:lpstr>
      <vt:lpstr>Definition: Region</vt:lpstr>
      <vt:lpstr>How does it work?</vt:lpstr>
      <vt:lpstr>How does it work?</vt:lpstr>
      <vt:lpstr>Event Driven Architecture</vt:lpstr>
      <vt:lpstr>GemFire Data Resiliency Concepts</vt:lpstr>
      <vt:lpstr>GemFire Redundancy Sounds Complicated - It’s Not!</vt:lpstr>
      <vt:lpstr>GemFire Redundancy Sounds Complicated – It’s Not!</vt:lpstr>
      <vt:lpstr>GemFire Redundancy Sounds Complicated – It’s Not!</vt:lpstr>
      <vt:lpstr>Infrastructure Redundancy</vt:lpstr>
      <vt:lpstr>VMware GemFire Use Cases</vt:lpstr>
      <vt:lpstr>Spring Caching</vt:lpstr>
      <vt:lpstr>Spring Caching</vt:lpstr>
      <vt:lpstr>Spring Caching</vt:lpstr>
      <vt:lpstr>Real World Example</vt:lpstr>
      <vt:lpstr>Spring Caching</vt:lpstr>
      <vt:lpstr>Spring Caching </vt:lpstr>
      <vt:lpstr>Spring Caching</vt:lpstr>
      <vt:lpstr>Spring Caching</vt:lpstr>
      <vt:lpstr>Spring Caching</vt:lpstr>
      <vt:lpstr>Spring Caching</vt:lpstr>
      <vt:lpstr>Recap</vt:lpstr>
      <vt:lpstr>Resour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Mware GemFire</dc:title>
  <dc:creator>Sally Gardner</dc:creator>
  <cp:lastModifiedBy>Charlie Black</cp:lastModifiedBy>
  <cp:revision>47</cp:revision>
  <dcterms:created xsi:type="dcterms:W3CDTF">2020-09-22T16:30:21Z</dcterms:created>
  <dcterms:modified xsi:type="dcterms:W3CDTF">2023-11-21T05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38372AB93777E499FFBED71EAB59D9C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_activity">
    <vt:lpwstr>{"FileActivityType":"9","FileActivityTimeStamp":"2023-07-24T17:45:17.387Z","FileActivityUsersOnPage":[{"DisplayName":"Charlie Black","Id":"cblack@vmware.com"},{"DisplayName":"Anthony Baker","Id":"bakera@vmware.com"}],"FileActivityNavigationId":null}</vt:lpwstr>
  </property>
</Properties>
</file>